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3" r:id="rId1"/>
  </p:sldMasterIdLst>
  <p:notesMasterIdLst>
    <p:notesMasterId r:id="rId4"/>
  </p:notesMasterIdLst>
  <p:handoutMasterIdLst>
    <p:handoutMasterId r:id="rId5"/>
  </p:handoutMasterIdLst>
  <p:sldIdLst>
    <p:sldId id="762" r:id="rId2"/>
    <p:sldId id="783" r:id="rId3"/>
  </p:sldIdLst>
  <p:sldSz cx="9144000" cy="5143500" type="screen16x9"/>
  <p:notesSz cx="6797675" cy="9926638"/>
  <p:custDataLst>
    <p:tags r:id="rId6"/>
  </p:custDataLst>
  <p:defaultTextStyle>
    <a:defPPr>
      <a:defRPr lang="es-E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41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A3B47"/>
    <a:srgbClr val="EEF7FB"/>
    <a:srgbClr val="E7E6E6"/>
    <a:srgbClr val="639FCB"/>
    <a:srgbClr val="FCE3D4"/>
    <a:srgbClr val="E389A0"/>
    <a:srgbClr val="FBD5B7"/>
    <a:srgbClr val="D4E5F0"/>
    <a:srgbClr val="DEEBF4"/>
    <a:srgbClr val="E9F2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Estilo me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Estilo medio 4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16D9F66E-5EB9-4882-86FB-DCBF35E3C3E4}" styleName="Estilo medio 4 - Énfasis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AF606853-7671-496A-8E4F-DF71F8EC918B}" styleName="Estilo oscuro 1 - Énfasis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Estilo oscuro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Estilo oscuro 2 - Énfasis 5/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85BE263C-DBD7-4A20-BB59-AAB30ACAA65A}" styleName="Estilo medio 3 - Énfasis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Estilo medio 3 - Énfasis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Estilo medio 3 - Énfasis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EC20E35-A176-4012-BC5E-935CFFF8708E}" styleName="Estilo medio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240" autoAdjust="0"/>
    <p:restoredTop sz="94105" autoAdjust="0"/>
  </p:normalViewPr>
  <p:slideViewPr>
    <p:cSldViewPr snapToObjects="1" showGuides="1">
      <p:cViewPr varScale="1">
        <p:scale>
          <a:sx n="95" d="100"/>
          <a:sy n="95" d="100"/>
        </p:scale>
        <p:origin x="486" y="84"/>
      </p:cViewPr>
      <p:guideLst>
        <p:guide orient="horz" pos="441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Objects="1" showGuides="1">
      <p:cViewPr varScale="1">
        <p:scale>
          <a:sx n="113" d="100"/>
          <a:sy n="113" d="100"/>
        </p:scale>
        <p:origin x="3608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D5B29DC9-D08B-4949-81E2-39C6CEC68F6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l">
              <a:defRPr sz="1200"/>
            </a:lvl1pPr>
          </a:lstStyle>
          <a:p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C99F9DC3-28BB-D94C-85E9-90396F03A5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r">
              <a:defRPr sz="1200"/>
            </a:lvl1pPr>
          </a:lstStyle>
          <a:p>
            <a:fld id="{44FE4C93-B9AD-774B-B059-E1A53E3045D5}" type="datetimeFigureOut">
              <a:rPr lang="es-ES" smtClean="0">
                <a:latin typeface="Soho Gothic Pro Light" panose="020B0303030504020204" pitchFamily="34" charset="0"/>
              </a:rPr>
              <a:t>19/05/2020</a:t>
            </a:fld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FE33F6B1-C943-874F-81C8-5CB8F4F2E28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l">
              <a:defRPr sz="1200"/>
            </a:lvl1pPr>
          </a:lstStyle>
          <a:p>
            <a:endParaRPr lang="es-ES" dirty="0">
              <a:latin typeface="Soho Gothic Pro Light" panose="020B0303030504020204" pitchFamily="34" charset="0"/>
            </a:endParaRP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CEB7C242-1592-974F-B931-024110D2C6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r">
              <a:defRPr sz="1200"/>
            </a:lvl1pPr>
          </a:lstStyle>
          <a:p>
            <a:fld id="{13E42EBE-F2C8-DB4B-9CF8-781446FF5229}" type="slidenum">
              <a:rPr lang="es-ES" smtClean="0">
                <a:latin typeface="Soho Gothic Pro Light" panose="020B0303030504020204" pitchFamily="34" charset="0"/>
              </a:rPr>
              <a:t>‹Nº›</a:t>
            </a:fld>
            <a:endParaRPr lang="es-ES" dirty="0">
              <a:latin typeface="Soho Gothic Pro Light" panose="020B0303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85962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l">
              <a:defRPr sz="1200">
                <a:latin typeface="Soho Gothic Pro Light" panose="020B0303030504020204" pitchFamily="34" charset="0"/>
              </a:defRPr>
            </a:lvl1pPr>
          </a:lstStyle>
          <a:p>
            <a:endParaRPr lang="es-ES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056"/>
          </a:xfrm>
          <a:prstGeom prst="rect">
            <a:avLst/>
          </a:prstGeom>
        </p:spPr>
        <p:txBody>
          <a:bodyPr vert="horz" lIns="92345" tIns="46173" rIns="92345" bIns="46173" rtlCol="0"/>
          <a:lstStyle>
            <a:lvl1pPr algn="r">
              <a:defRPr sz="1200">
                <a:latin typeface="Soho Gothic Pro Light" panose="020B0303030504020204" pitchFamily="34" charset="0"/>
              </a:defRPr>
            </a:lvl1pPr>
          </a:lstStyle>
          <a:p>
            <a:fld id="{C82A976D-0EBD-E345-809C-21C952C27942}" type="datetimeFigureOut">
              <a:rPr lang="es-ES" smtClean="0"/>
              <a:pPr/>
              <a:t>19/05/2020</a:t>
            </a:fld>
            <a:endParaRPr lang="es-ES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345" tIns="46173" rIns="92345" bIns="46173" rtlCol="0" anchor="ctr"/>
          <a:lstStyle/>
          <a:p>
            <a:endParaRPr lang="es-ES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3"/>
          </a:xfrm>
          <a:prstGeom prst="rect">
            <a:avLst/>
          </a:prstGeom>
        </p:spPr>
        <p:txBody>
          <a:bodyPr vert="horz" lIns="92345" tIns="46173" rIns="92345" bIns="46173" rtlCol="0"/>
          <a:lstStyle/>
          <a:p>
            <a:r>
              <a:rPr lang="es-ES"/>
              <a:t>Editar los estilos de texto del patrón
Segundo nivel
Tercer nivel
Cuarto nivel
Quinto nivel</a:t>
            </a: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l">
              <a:defRPr sz="1200">
                <a:latin typeface="Soho Gothic Pro Light" panose="020B0303030504020204" pitchFamily="34" charset="0"/>
              </a:defRPr>
            </a:lvl1pPr>
          </a:lstStyle>
          <a:p>
            <a:endParaRPr lang="es-ES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2345" tIns="46173" rIns="92345" bIns="46173" rtlCol="0" anchor="b"/>
          <a:lstStyle>
            <a:lvl1pPr algn="r">
              <a:defRPr sz="1200">
                <a:latin typeface="Soho Gothic Pro Light" panose="020B0303030504020204" pitchFamily="34" charset="0"/>
              </a:defRPr>
            </a:lvl1pPr>
          </a:lstStyle>
          <a:p>
            <a:fld id="{7001BFE9-5FDD-E045-9186-025D41341214}" type="slidenum">
              <a:rPr lang="es-ES" smtClean="0"/>
              <a:pPr/>
              <a:t>‹Nº›</a:t>
            </a:fld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642323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Soho Gothic Pro Light" panose="020B0303030504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Portada 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58061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/>
              <a:t>Haga clic en el icono para agregar una imagen</a:t>
            </a:r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87691"/>
            <a:ext cx="2794000" cy="16108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1" y="516929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739775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4965" y="2154808"/>
            <a:ext cx="4970108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500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5126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Pie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4404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078871-D93F-4D40-B540-DC74CFDF655C}" type="slidenum">
              <a:rPr kumimoji="0" lang="es-ES" sz="800" b="0" i="0" u="none" strike="noStrike" kern="1200" cap="none" spc="0" normalizeH="0" baseline="0" noProof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77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s-ES" sz="800" b="0" i="0" u="none" strike="noStrike" kern="1200" cap="none" spc="0" normalizeH="0" baseline="0" noProof="0" dirty="0">
              <a:ln>
                <a:noFill/>
              </a:ln>
              <a:solidFill>
                <a:srgbClr val="1A3B47"/>
              </a:solidFill>
              <a:effectLst/>
              <a:uLnTx/>
              <a:uFillTx/>
              <a:latin typeface="Soho Gothic Pro" panose="020B0503030504020204" pitchFamily="34" charset="77"/>
              <a:ea typeface="+mn-ea"/>
              <a:cs typeface="+mn-cs"/>
            </a:endParaRPr>
          </a:p>
        </p:txBody>
      </p:sp>
      <p:pic>
        <p:nvPicPr>
          <p:cNvPr id="5" name="Imagen 4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52000" y="4889640"/>
            <a:ext cx="1223656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9596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cipal. Grafi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4404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77254A14-42E5-0A4F-AB27-4036E5FA6C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58350" y="4900450"/>
            <a:ext cx="1223656" cy="151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6478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er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3625" y="534327"/>
            <a:ext cx="5665375" cy="5359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5000" b="0" i="0">
                <a:solidFill>
                  <a:schemeClr val="tx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¡Gracias!</a:t>
            </a:r>
            <a:endParaRPr lang="en-US" dirty="0"/>
          </a:p>
        </p:txBody>
      </p:sp>
      <p:sp>
        <p:nvSpPr>
          <p:cNvPr id="3" name="Rectángulo 3">
            <a:extLst>
              <a:ext uri="{FF2B5EF4-FFF2-40B4-BE49-F238E27FC236}">
                <a16:creationId xmlns:a16="http://schemas.microsoft.com/office/drawing/2014/main" id="{A1E39811-A34B-AD46-8ACC-A06DB4D267D0}"/>
              </a:ext>
            </a:extLst>
          </p:cNvPr>
          <p:cNvSpPr/>
          <p:nvPr userDrawn="1"/>
        </p:nvSpPr>
        <p:spPr>
          <a:xfrm>
            <a:off x="5808518" y="2774373"/>
            <a:ext cx="1931834" cy="2857500"/>
          </a:xfrm>
          <a:custGeom>
            <a:avLst/>
            <a:gdLst>
              <a:gd name="connsiteX0" fmla="*/ 0 w 1569027"/>
              <a:gd name="connsiteY0" fmla="*/ 0 h 2857500"/>
              <a:gd name="connsiteX1" fmla="*/ 1569027 w 1569027"/>
              <a:gd name="connsiteY1" fmla="*/ 0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569027"/>
              <a:gd name="connsiteY0" fmla="*/ 0 h 2857500"/>
              <a:gd name="connsiteX1" fmla="*/ 1558636 w 1569027"/>
              <a:gd name="connsiteY1" fmla="*/ 467591 h 2857500"/>
              <a:gd name="connsiteX2" fmla="*/ 1569027 w 1569027"/>
              <a:gd name="connsiteY2" fmla="*/ 2857500 h 2857500"/>
              <a:gd name="connsiteX3" fmla="*/ 0 w 1569027"/>
              <a:gd name="connsiteY3" fmla="*/ 2857500 h 2857500"/>
              <a:gd name="connsiteX4" fmla="*/ 0 w 1569027"/>
              <a:gd name="connsiteY4" fmla="*/ 0 h 2857500"/>
              <a:gd name="connsiteX0" fmla="*/ 0 w 1610767"/>
              <a:gd name="connsiteY0" fmla="*/ 0 h 2857500"/>
              <a:gd name="connsiteX1" fmla="*/ 1610590 w 1610767"/>
              <a:gd name="connsiteY1" fmla="*/ 477982 h 2857500"/>
              <a:gd name="connsiteX2" fmla="*/ 1569027 w 1610767"/>
              <a:gd name="connsiteY2" fmla="*/ 2857500 h 2857500"/>
              <a:gd name="connsiteX3" fmla="*/ 0 w 1610767"/>
              <a:gd name="connsiteY3" fmla="*/ 2857500 h 2857500"/>
              <a:gd name="connsiteX4" fmla="*/ 0 w 1610767"/>
              <a:gd name="connsiteY4" fmla="*/ 0 h 2857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0767" h="2857500">
                <a:moveTo>
                  <a:pt x="0" y="0"/>
                </a:moveTo>
                <a:lnTo>
                  <a:pt x="1610590" y="477982"/>
                </a:lnTo>
                <a:cubicBezTo>
                  <a:pt x="1614054" y="1274618"/>
                  <a:pt x="1565563" y="2060864"/>
                  <a:pt x="1569027" y="2857500"/>
                </a:cubicBezTo>
                <a:lnTo>
                  <a:pt x="0" y="285750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ES"/>
          </a:p>
        </p:txBody>
      </p:sp>
      <p:sp>
        <p:nvSpPr>
          <p:cNvPr id="4" name="Rectángulo 4">
            <a:extLst>
              <a:ext uri="{FF2B5EF4-FFF2-40B4-BE49-F238E27FC236}">
                <a16:creationId xmlns:a16="http://schemas.microsoft.com/office/drawing/2014/main" id="{A3F9223B-685F-2843-9227-57F23C3FCEB4}"/>
              </a:ext>
            </a:extLst>
          </p:cNvPr>
          <p:cNvSpPr/>
          <p:nvPr userDrawn="1"/>
        </p:nvSpPr>
        <p:spPr>
          <a:xfrm>
            <a:off x="7596336" y="2036618"/>
            <a:ext cx="757955" cy="3595255"/>
          </a:xfrm>
          <a:custGeom>
            <a:avLst/>
            <a:gdLst>
              <a:gd name="connsiteX0" fmla="*/ 0 w 985405"/>
              <a:gd name="connsiteY0" fmla="*/ 0 h 3595255"/>
              <a:gd name="connsiteX1" fmla="*/ 985405 w 985405"/>
              <a:gd name="connsiteY1" fmla="*/ 0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  <a:gd name="connsiteX0" fmla="*/ 0 w 985405"/>
              <a:gd name="connsiteY0" fmla="*/ 0 h 3595255"/>
              <a:gd name="connsiteX1" fmla="*/ 985405 w 985405"/>
              <a:gd name="connsiteY1" fmla="*/ 259773 h 3595255"/>
              <a:gd name="connsiteX2" fmla="*/ 985405 w 985405"/>
              <a:gd name="connsiteY2" fmla="*/ 3595255 h 3595255"/>
              <a:gd name="connsiteX3" fmla="*/ 0 w 985405"/>
              <a:gd name="connsiteY3" fmla="*/ 3595255 h 3595255"/>
              <a:gd name="connsiteX4" fmla="*/ 0 w 985405"/>
              <a:gd name="connsiteY4" fmla="*/ 0 h 3595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5405" h="3595255">
                <a:moveTo>
                  <a:pt x="0" y="0"/>
                </a:moveTo>
                <a:lnTo>
                  <a:pt x="985405" y="259773"/>
                </a:lnTo>
                <a:lnTo>
                  <a:pt x="985405" y="3595255"/>
                </a:lnTo>
                <a:lnTo>
                  <a:pt x="0" y="3595255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ES"/>
          </a:p>
        </p:txBody>
      </p:sp>
      <p:sp>
        <p:nvSpPr>
          <p:cNvPr id="5" name="Rectángulo 8">
            <a:extLst>
              <a:ext uri="{FF2B5EF4-FFF2-40B4-BE49-F238E27FC236}">
                <a16:creationId xmlns:a16="http://schemas.microsoft.com/office/drawing/2014/main" id="{3E974AAD-8F9B-2E42-A5FB-13D764EAA100}"/>
              </a:ext>
            </a:extLst>
          </p:cNvPr>
          <p:cNvSpPr/>
          <p:nvPr userDrawn="1"/>
        </p:nvSpPr>
        <p:spPr>
          <a:xfrm>
            <a:off x="8244408" y="966354"/>
            <a:ext cx="1037271" cy="4665519"/>
          </a:xfrm>
          <a:custGeom>
            <a:avLst/>
            <a:gdLst>
              <a:gd name="connsiteX0" fmla="*/ 0 w 1289338"/>
              <a:gd name="connsiteY0" fmla="*/ 0 h 4665519"/>
              <a:gd name="connsiteX1" fmla="*/ 1289338 w 1289338"/>
              <a:gd name="connsiteY1" fmla="*/ 0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  <a:gd name="connsiteX0" fmla="*/ 0 w 1289338"/>
              <a:gd name="connsiteY0" fmla="*/ 0 h 4665519"/>
              <a:gd name="connsiteX1" fmla="*/ 1278947 w 1289338"/>
              <a:gd name="connsiteY1" fmla="*/ 394854 h 4665519"/>
              <a:gd name="connsiteX2" fmla="*/ 1289338 w 1289338"/>
              <a:gd name="connsiteY2" fmla="*/ 4665519 h 4665519"/>
              <a:gd name="connsiteX3" fmla="*/ 0 w 1289338"/>
              <a:gd name="connsiteY3" fmla="*/ 4665519 h 4665519"/>
              <a:gd name="connsiteX4" fmla="*/ 0 w 1289338"/>
              <a:gd name="connsiteY4" fmla="*/ 0 h 466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89338" h="4665519">
                <a:moveTo>
                  <a:pt x="0" y="0"/>
                </a:moveTo>
                <a:lnTo>
                  <a:pt x="1278947" y="394854"/>
                </a:lnTo>
                <a:cubicBezTo>
                  <a:pt x="1282411" y="1818409"/>
                  <a:pt x="1285874" y="3241964"/>
                  <a:pt x="1289338" y="4665519"/>
                </a:cubicBezTo>
                <a:lnTo>
                  <a:pt x="0" y="466551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s-ES"/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52000" y="4889640"/>
            <a:ext cx="1223656" cy="185901"/>
          </a:xfrm>
          <a:prstGeom prst="rect">
            <a:avLst/>
          </a:prstGeom>
        </p:spPr>
      </p:pic>
      <p:sp>
        <p:nvSpPr>
          <p:cNvPr id="10" name="Content Placeholder 1">
            <a:extLst>
              <a:ext uri="{FF2B5EF4-FFF2-40B4-BE49-F238E27FC236}">
                <a16:creationId xmlns:a16="http://schemas.microsoft.com/office/drawing/2014/main" id="{CE417AD1-D863-EB4A-AF35-6B98DE57CAA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pPr marL="0" indent="0">
              <a:buNone/>
            </a:pPr>
            <a:r>
              <a:rPr lang="en-US" dirty="0" err="1"/>
              <a:t>Dato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003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4907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9" name="Grupo 8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1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52000" y="4889640"/>
            <a:ext cx="1223656" cy="185901"/>
          </a:xfrm>
          <a:prstGeom prst="rect">
            <a:avLst/>
          </a:prstGeom>
        </p:spPr>
      </p:pic>
      <p:sp>
        <p:nvSpPr>
          <p:cNvPr id="14" name="Marcador de contenido 10">
            <a:extLst>
              <a:ext uri="{FF2B5EF4-FFF2-40B4-BE49-F238E27FC236}">
                <a16:creationId xmlns:a16="http://schemas.microsoft.com/office/drawing/2014/main" id="{7CD59AD4-7499-A549-A926-4F14B232F3E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1520" y="1995686"/>
            <a:ext cx="8640960" cy="25202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2800"/>
              </a:spcAft>
              <a:buNone/>
              <a:defRPr sz="12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15" name="Marcador de contenido 10">
            <a:extLst>
              <a:ext uri="{FF2B5EF4-FFF2-40B4-BE49-F238E27FC236}">
                <a16:creationId xmlns:a16="http://schemas.microsoft.com/office/drawing/2014/main" id="{F46C2829-2198-434B-8044-36AA590C41F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1520" y="1347614"/>
            <a:ext cx="8640960" cy="5040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s-ES" dirty="0"/>
              <a:t>Haga clic para agregar un subtítulo a esta página, cuentas con dos líneas para títulos  extensos</a:t>
            </a:r>
          </a:p>
        </p:txBody>
      </p:sp>
    </p:spTree>
    <p:extLst>
      <p:ext uri="{BB962C8B-B14F-4D97-AF65-F5344CB8AC3E}">
        <p14:creationId xmlns:p14="http://schemas.microsoft.com/office/powerpoint/2010/main" val="40082381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2987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38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9" name="Grupo 8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1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sp>
        <p:nvSpPr>
          <p:cNvPr id="14" name="Marcador de contenido 10">
            <a:extLst>
              <a:ext uri="{FF2B5EF4-FFF2-40B4-BE49-F238E27FC236}">
                <a16:creationId xmlns:a16="http://schemas.microsoft.com/office/drawing/2014/main" id="{7CD59AD4-7499-A549-A926-4F14B232F3ED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1520" y="1995686"/>
            <a:ext cx="8640960" cy="25202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00"/>
              </a:lnSpc>
              <a:spcBef>
                <a:spcPts val="0"/>
              </a:spcBef>
              <a:spcAft>
                <a:spcPts val="2800"/>
              </a:spcAft>
              <a:buNone/>
              <a:defRPr sz="12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s-ES" dirty="0"/>
              <a:t>Editar los estilos de texto del patrón</a:t>
            </a:r>
          </a:p>
        </p:txBody>
      </p:sp>
      <p:sp>
        <p:nvSpPr>
          <p:cNvPr id="15" name="Marcador de contenido 10">
            <a:extLst>
              <a:ext uri="{FF2B5EF4-FFF2-40B4-BE49-F238E27FC236}">
                <a16:creationId xmlns:a16="http://schemas.microsoft.com/office/drawing/2014/main" id="{F46C2829-2198-434B-8044-36AA590C41F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1520" y="1347614"/>
            <a:ext cx="8640960" cy="5040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i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s-ES" dirty="0"/>
              <a:t>Haga clic para agregar un subtítulo a esta página, cuentas con dos líneas para títulos  extensos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. Texto gra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16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8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9" name="Grupo 8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1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02326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ólo el título" type="titleOnly">
  <p:cSld name="Sólo el título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2"/>
          <p:cNvSpPr txBox="1">
            <a:spLocks noGrp="1"/>
          </p:cNvSpPr>
          <p:nvPr>
            <p:ph type="title"/>
          </p:nvPr>
        </p:nvSpPr>
        <p:spPr>
          <a:xfrm>
            <a:off x="457121" y="205497"/>
            <a:ext cx="8229759" cy="8569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2"/>
          <p:cNvSpPr txBox="1">
            <a:spLocks noGrp="1"/>
          </p:cNvSpPr>
          <p:nvPr>
            <p:ph type="dt" idx="10"/>
          </p:nvPr>
        </p:nvSpPr>
        <p:spPr>
          <a:xfrm>
            <a:off x="457120" y="4767517"/>
            <a:ext cx="2133230" cy="273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19" name="Google Shape;19;p2"/>
          <p:cNvSpPr txBox="1">
            <a:spLocks noGrp="1"/>
          </p:cNvSpPr>
          <p:nvPr>
            <p:ph type="ftr" idx="11"/>
          </p:nvPr>
        </p:nvSpPr>
        <p:spPr>
          <a:xfrm>
            <a:off x="3123658" y="4767517"/>
            <a:ext cx="2896685" cy="273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0" name="Google Shape;20;p2"/>
          <p:cNvSpPr txBox="1">
            <a:spLocks noGrp="1"/>
          </p:cNvSpPr>
          <p:nvPr>
            <p:ph type="sldNum" idx="12"/>
          </p:nvPr>
        </p:nvSpPr>
        <p:spPr>
          <a:xfrm>
            <a:off x="6553650" y="4767517"/>
            <a:ext cx="2133230" cy="273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spcAft>
                <a:spcPts val="0"/>
              </a:spcAft>
              <a:buNone/>
              <a:defRPr sz="115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spcAft>
                <a:spcPts val="0"/>
              </a:spcAft>
              <a:buNone/>
              <a:defRPr sz="115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spcAft>
                <a:spcPts val="0"/>
              </a:spcAft>
              <a:buNone/>
              <a:defRPr sz="115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spcAft>
                <a:spcPts val="0"/>
              </a:spcAft>
              <a:buNone/>
              <a:defRPr sz="115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spcAft>
                <a:spcPts val="0"/>
              </a:spcAft>
              <a:buNone/>
              <a:defRPr sz="115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spcAft>
                <a:spcPts val="0"/>
              </a:spcAft>
              <a:buNone/>
              <a:defRPr sz="115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spcAft>
                <a:spcPts val="0"/>
              </a:spcAft>
              <a:buNone/>
              <a:defRPr sz="115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spcAft>
                <a:spcPts val="0"/>
              </a:spcAft>
              <a:buNone/>
              <a:defRPr sz="115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spcAft>
                <a:spcPts val="0"/>
              </a:spcAft>
              <a:buNone/>
              <a:defRPr sz="1151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s-CO"/>
              <a:pPr/>
              <a:t>‹Nº›</a:t>
            </a:fld>
            <a:endParaRPr dirty="0"/>
          </a:p>
        </p:txBody>
      </p:sp>
      <p:pic>
        <p:nvPicPr>
          <p:cNvPr id="6" name="Imagen 5"/>
          <p:cNvPicPr>
            <a:picLocks noChangeAspect="1"/>
          </p:cNvPicPr>
          <p:nvPr userDrawn="1"/>
        </p:nvPicPr>
        <p:blipFill>
          <a:blip r:embed="rId2">
            <a:lum/>
          </a:blip>
          <a:stretch>
            <a:fillRect/>
          </a:stretch>
        </p:blipFill>
        <p:spPr>
          <a:xfrm>
            <a:off x="6665442" y="4905400"/>
            <a:ext cx="858887" cy="186630"/>
          </a:xfrm>
          <a:prstGeom prst="rect">
            <a:avLst/>
          </a:prstGeom>
        </p:spPr>
      </p:pic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252000" y="4879562"/>
            <a:ext cx="643638" cy="128556"/>
          </a:xfrm>
          <a:custGeom>
            <a:avLst/>
            <a:gdLst>
              <a:gd name="T0" fmla="*/ 1051 w 1701"/>
              <a:gd name="T1" fmla="*/ 298 h 337"/>
              <a:gd name="T2" fmla="*/ 967 w 1701"/>
              <a:gd name="T3" fmla="*/ 337 h 337"/>
              <a:gd name="T4" fmla="*/ 877 w 1701"/>
              <a:gd name="T5" fmla="*/ 262 h 337"/>
              <a:gd name="T6" fmla="*/ 906 w 1701"/>
              <a:gd name="T7" fmla="*/ 285 h 337"/>
              <a:gd name="T8" fmla="*/ 991 w 1701"/>
              <a:gd name="T9" fmla="*/ 309 h 337"/>
              <a:gd name="T10" fmla="*/ 1033 w 1701"/>
              <a:gd name="T11" fmla="*/ 263 h 337"/>
              <a:gd name="T12" fmla="*/ 926 w 1701"/>
              <a:gd name="T13" fmla="*/ 200 h 337"/>
              <a:gd name="T14" fmla="*/ 888 w 1701"/>
              <a:gd name="T15" fmla="*/ 112 h 337"/>
              <a:gd name="T16" fmla="*/ 967 w 1701"/>
              <a:gd name="T17" fmla="*/ 75 h 337"/>
              <a:gd name="T18" fmla="*/ 1056 w 1701"/>
              <a:gd name="T19" fmla="*/ 149 h 337"/>
              <a:gd name="T20" fmla="*/ 1013 w 1701"/>
              <a:gd name="T21" fmla="*/ 112 h 337"/>
              <a:gd name="T22" fmla="*/ 925 w 1701"/>
              <a:gd name="T23" fmla="*/ 108 h 337"/>
              <a:gd name="T24" fmla="*/ 913 w 1701"/>
              <a:gd name="T25" fmla="*/ 163 h 337"/>
              <a:gd name="T26" fmla="*/ 1046 w 1701"/>
              <a:gd name="T27" fmla="*/ 222 h 337"/>
              <a:gd name="T28" fmla="*/ 680 w 1701"/>
              <a:gd name="T29" fmla="*/ 86 h 337"/>
              <a:gd name="T30" fmla="*/ 656 w 1701"/>
              <a:gd name="T31" fmla="*/ 103 h 337"/>
              <a:gd name="T32" fmla="*/ 656 w 1701"/>
              <a:gd name="T33" fmla="*/ 103 h 337"/>
              <a:gd name="T34" fmla="*/ 632 w 1701"/>
              <a:gd name="T35" fmla="*/ 335 h 337"/>
              <a:gd name="T36" fmla="*/ 661 w 1701"/>
              <a:gd name="T37" fmla="*/ 137 h 337"/>
              <a:gd name="T38" fmla="*/ 722 w 1701"/>
              <a:gd name="T39" fmla="*/ 100 h 337"/>
              <a:gd name="T40" fmla="*/ 783 w 1701"/>
              <a:gd name="T41" fmla="*/ 140 h 337"/>
              <a:gd name="T42" fmla="*/ 810 w 1701"/>
              <a:gd name="T43" fmla="*/ 335 h 337"/>
              <a:gd name="T44" fmla="*/ 722 w 1701"/>
              <a:gd name="T45" fmla="*/ 75 h 337"/>
              <a:gd name="T46" fmla="*/ 1692 w 1701"/>
              <a:gd name="T47" fmla="*/ 298 h 337"/>
              <a:gd name="T48" fmla="*/ 1607 w 1701"/>
              <a:gd name="T49" fmla="*/ 256 h 337"/>
              <a:gd name="T50" fmla="*/ 1686 w 1701"/>
              <a:gd name="T51" fmla="*/ 101 h 337"/>
              <a:gd name="T52" fmla="*/ 1607 w 1701"/>
              <a:gd name="T53" fmla="*/ 78 h 337"/>
              <a:gd name="T54" fmla="*/ 1583 w 1701"/>
              <a:gd name="T55" fmla="*/ 257 h 337"/>
              <a:gd name="T56" fmla="*/ 248 w 1701"/>
              <a:gd name="T57" fmla="*/ 75 h 337"/>
              <a:gd name="T58" fmla="*/ 181 w 1701"/>
              <a:gd name="T59" fmla="*/ 98 h 337"/>
              <a:gd name="T60" fmla="*/ 92 w 1701"/>
              <a:gd name="T61" fmla="*/ 75 h 337"/>
              <a:gd name="T62" fmla="*/ 0 w 1701"/>
              <a:gd name="T63" fmla="*/ 164 h 337"/>
              <a:gd name="T64" fmla="*/ 25 w 1701"/>
              <a:gd name="T65" fmla="*/ 164 h 337"/>
              <a:gd name="T66" fmla="*/ 57 w 1701"/>
              <a:gd name="T67" fmla="*/ 106 h 337"/>
              <a:gd name="T68" fmla="*/ 124 w 1701"/>
              <a:gd name="T69" fmla="*/ 106 h 337"/>
              <a:gd name="T70" fmla="*/ 156 w 1701"/>
              <a:gd name="T71" fmla="*/ 164 h 337"/>
              <a:gd name="T72" fmla="*/ 182 w 1701"/>
              <a:gd name="T73" fmla="*/ 164 h 337"/>
              <a:gd name="T74" fmla="*/ 214 w 1701"/>
              <a:gd name="T75" fmla="*/ 106 h 337"/>
              <a:gd name="T76" fmla="*/ 281 w 1701"/>
              <a:gd name="T77" fmla="*/ 106 h 337"/>
              <a:gd name="T78" fmla="*/ 313 w 1701"/>
              <a:gd name="T79" fmla="*/ 164 h 337"/>
              <a:gd name="T80" fmla="*/ 338 w 1701"/>
              <a:gd name="T81" fmla="*/ 164 h 337"/>
              <a:gd name="T82" fmla="*/ 1522 w 1701"/>
              <a:gd name="T83" fmla="*/ 334 h 337"/>
              <a:gd name="T84" fmla="*/ 1522 w 1701"/>
              <a:gd name="T85" fmla="*/ 311 h 337"/>
              <a:gd name="T86" fmla="*/ 1381 w 1701"/>
              <a:gd name="T87" fmla="*/ 78 h 337"/>
              <a:gd name="T88" fmla="*/ 1381 w 1701"/>
              <a:gd name="T89" fmla="*/ 101 h 337"/>
              <a:gd name="T90" fmla="*/ 1381 w 1701"/>
              <a:gd name="T91" fmla="*/ 311 h 337"/>
              <a:gd name="T92" fmla="*/ 1381 w 1701"/>
              <a:gd name="T93" fmla="*/ 334 h 337"/>
              <a:gd name="T94" fmla="*/ 415 w 1701"/>
              <a:gd name="T95" fmla="*/ 78 h 337"/>
              <a:gd name="T96" fmla="*/ 415 w 1701"/>
              <a:gd name="T97" fmla="*/ 101 h 337"/>
              <a:gd name="T98" fmla="*/ 412 w 1701"/>
              <a:gd name="T99" fmla="*/ 311 h 337"/>
              <a:gd name="T100" fmla="*/ 556 w 1701"/>
              <a:gd name="T101" fmla="*/ 311 h 337"/>
              <a:gd name="T102" fmla="*/ 1297 w 1701"/>
              <a:gd name="T103" fmla="*/ 126 h 337"/>
              <a:gd name="T104" fmla="*/ 1288 w 1701"/>
              <a:gd name="T105" fmla="*/ 334 h 337"/>
              <a:gd name="T106" fmla="*/ 1280 w 1701"/>
              <a:gd name="T107" fmla="*/ 313 h 337"/>
              <a:gd name="T108" fmla="*/ 1148 w 1701"/>
              <a:gd name="T109" fmla="*/ 314 h 337"/>
              <a:gd name="T110" fmla="*/ 1130 w 1701"/>
              <a:gd name="T111" fmla="*/ 126 h 337"/>
              <a:gd name="T112" fmla="*/ 1250 w 1701"/>
              <a:gd name="T113" fmla="*/ 81 h 337"/>
              <a:gd name="T114" fmla="*/ 1278 w 1701"/>
              <a:gd name="T115" fmla="*/ 162 h 337"/>
              <a:gd name="T116" fmla="*/ 1166 w 1701"/>
              <a:gd name="T117" fmla="*/ 116 h 337"/>
              <a:gd name="T118" fmla="*/ 1152 w 1701"/>
              <a:gd name="T119" fmla="*/ 271 h 337"/>
              <a:gd name="T120" fmla="*/ 1214 w 1701"/>
              <a:gd name="T121" fmla="*/ 312 h 337"/>
              <a:gd name="T122" fmla="*/ 1275 w 1701"/>
              <a:gd name="T123" fmla="*/ 271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701" h="337">
                <a:moveTo>
                  <a:pt x="1046" y="222"/>
                </a:moveTo>
                <a:cubicBezTo>
                  <a:pt x="1054" y="233"/>
                  <a:pt x="1058" y="247"/>
                  <a:pt x="1058" y="263"/>
                </a:cubicBezTo>
                <a:cubicBezTo>
                  <a:pt x="1058" y="276"/>
                  <a:pt x="1056" y="288"/>
                  <a:pt x="1051" y="298"/>
                </a:cubicBezTo>
                <a:cubicBezTo>
                  <a:pt x="1046" y="307"/>
                  <a:pt x="1039" y="315"/>
                  <a:pt x="1031" y="321"/>
                </a:cubicBezTo>
                <a:cubicBezTo>
                  <a:pt x="1022" y="327"/>
                  <a:pt x="1013" y="331"/>
                  <a:pt x="1001" y="333"/>
                </a:cubicBezTo>
                <a:cubicBezTo>
                  <a:pt x="991" y="335"/>
                  <a:pt x="979" y="337"/>
                  <a:pt x="967" y="337"/>
                </a:cubicBezTo>
                <a:cubicBezTo>
                  <a:pt x="940" y="337"/>
                  <a:pt x="919" y="331"/>
                  <a:pt x="902" y="319"/>
                </a:cubicBezTo>
                <a:cubicBezTo>
                  <a:pt x="886" y="306"/>
                  <a:pt x="877" y="288"/>
                  <a:pt x="876" y="263"/>
                </a:cubicBezTo>
                <a:cubicBezTo>
                  <a:pt x="876" y="263"/>
                  <a:pt x="877" y="262"/>
                  <a:pt x="877" y="262"/>
                </a:cubicBezTo>
                <a:cubicBezTo>
                  <a:pt x="901" y="262"/>
                  <a:pt x="901" y="262"/>
                  <a:pt x="901" y="262"/>
                </a:cubicBezTo>
                <a:cubicBezTo>
                  <a:pt x="901" y="262"/>
                  <a:pt x="902" y="263"/>
                  <a:pt x="902" y="263"/>
                </a:cubicBezTo>
                <a:cubicBezTo>
                  <a:pt x="902" y="272"/>
                  <a:pt x="903" y="280"/>
                  <a:pt x="906" y="285"/>
                </a:cubicBezTo>
                <a:cubicBezTo>
                  <a:pt x="910" y="291"/>
                  <a:pt x="914" y="296"/>
                  <a:pt x="920" y="300"/>
                </a:cubicBezTo>
                <a:cubicBezTo>
                  <a:pt x="926" y="303"/>
                  <a:pt x="932" y="306"/>
                  <a:pt x="940" y="308"/>
                </a:cubicBezTo>
                <a:cubicBezTo>
                  <a:pt x="954" y="311"/>
                  <a:pt x="970" y="311"/>
                  <a:pt x="991" y="309"/>
                </a:cubicBezTo>
                <a:cubicBezTo>
                  <a:pt x="998" y="308"/>
                  <a:pt x="1005" y="306"/>
                  <a:pt x="1012" y="303"/>
                </a:cubicBezTo>
                <a:cubicBezTo>
                  <a:pt x="1018" y="299"/>
                  <a:pt x="1023" y="295"/>
                  <a:pt x="1027" y="288"/>
                </a:cubicBezTo>
                <a:cubicBezTo>
                  <a:pt x="1031" y="282"/>
                  <a:pt x="1033" y="274"/>
                  <a:pt x="1033" y="263"/>
                </a:cubicBezTo>
                <a:cubicBezTo>
                  <a:pt x="1033" y="254"/>
                  <a:pt x="1031" y="246"/>
                  <a:pt x="1026" y="238"/>
                </a:cubicBezTo>
                <a:cubicBezTo>
                  <a:pt x="1021" y="231"/>
                  <a:pt x="1013" y="226"/>
                  <a:pt x="1003" y="223"/>
                </a:cubicBezTo>
                <a:cubicBezTo>
                  <a:pt x="926" y="200"/>
                  <a:pt x="926" y="200"/>
                  <a:pt x="926" y="200"/>
                </a:cubicBezTo>
                <a:cubicBezTo>
                  <a:pt x="911" y="196"/>
                  <a:pt x="901" y="190"/>
                  <a:pt x="893" y="180"/>
                </a:cubicBezTo>
                <a:cubicBezTo>
                  <a:pt x="885" y="170"/>
                  <a:pt x="881" y="158"/>
                  <a:pt x="881" y="144"/>
                </a:cubicBezTo>
                <a:cubicBezTo>
                  <a:pt x="881" y="131"/>
                  <a:pt x="884" y="121"/>
                  <a:pt x="888" y="112"/>
                </a:cubicBezTo>
                <a:cubicBezTo>
                  <a:pt x="893" y="103"/>
                  <a:pt x="899" y="96"/>
                  <a:pt x="907" y="90"/>
                </a:cubicBezTo>
                <a:cubicBezTo>
                  <a:pt x="915" y="85"/>
                  <a:pt x="924" y="81"/>
                  <a:pt x="934" y="78"/>
                </a:cubicBezTo>
                <a:cubicBezTo>
                  <a:pt x="945" y="76"/>
                  <a:pt x="955" y="75"/>
                  <a:pt x="967" y="75"/>
                </a:cubicBezTo>
                <a:cubicBezTo>
                  <a:pt x="993" y="75"/>
                  <a:pt x="1014" y="81"/>
                  <a:pt x="1030" y="93"/>
                </a:cubicBezTo>
                <a:cubicBezTo>
                  <a:pt x="1047" y="105"/>
                  <a:pt x="1055" y="124"/>
                  <a:pt x="1056" y="148"/>
                </a:cubicBezTo>
                <a:cubicBezTo>
                  <a:pt x="1056" y="148"/>
                  <a:pt x="1056" y="149"/>
                  <a:pt x="1056" y="149"/>
                </a:cubicBezTo>
                <a:cubicBezTo>
                  <a:pt x="1032" y="149"/>
                  <a:pt x="1032" y="149"/>
                  <a:pt x="1032" y="149"/>
                </a:cubicBezTo>
                <a:cubicBezTo>
                  <a:pt x="1032" y="149"/>
                  <a:pt x="1032" y="148"/>
                  <a:pt x="1032" y="148"/>
                </a:cubicBezTo>
                <a:cubicBezTo>
                  <a:pt x="1031" y="131"/>
                  <a:pt x="1025" y="119"/>
                  <a:pt x="1013" y="112"/>
                </a:cubicBezTo>
                <a:cubicBezTo>
                  <a:pt x="1002" y="104"/>
                  <a:pt x="986" y="100"/>
                  <a:pt x="966" y="100"/>
                </a:cubicBezTo>
                <a:cubicBezTo>
                  <a:pt x="958" y="100"/>
                  <a:pt x="951" y="100"/>
                  <a:pt x="944" y="102"/>
                </a:cubicBezTo>
                <a:cubicBezTo>
                  <a:pt x="937" y="103"/>
                  <a:pt x="931" y="105"/>
                  <a:pt x="925" y="108"/>
                </a:cubicBezTo>
                <a:cubicBezTo>
                  <a:pt x="919" y="111"/>
                  <a:pt x="915" y="115"/>
                  <a:pt x="911" y="121"/>
                </a:cubicBezTo>
                <a:cubicBezTo>
                  <a:pt x="908" y="127"/>
                  <a:pt x="906" y="134"/>
                  <a:pt x="906" y="144"/>
                </a:cubicBezTo>
                <a:cubicBezTo>
                  <a:pt x="906" y="151"/>
                  <a:pt x="908" y="157"/>
                  <a:pt x="913" y="163"/>
                </a:cubicBezTo>
                <a:cubicBezTo>
                  <a:pt x="917" y="170"/>
                  <a:pt x="924" y="174"/>
                  <a:pt x="934" y="177"/>
                </a:cubicBezTo>
                <a:cubicBezTo>
                  <a:pt x="1011" y="199"/>
                  <a:pt x="1011" y="199"/>
                  <a:pt x="1011" y="199"/>
                </a:cubicBezTo>
                <a:cubicBezTo>
                  <a:pt x="1026" y="204"/>
                  <a:pt x="1038" y="211"/>
                  <a:pt x="1046" y="222"/>
                </a:cubicBezTo>
                <a:close/>
                <a:moveTo>
                  <a:pt x="722" y="75"/>
                </a:moveTo>
                <a:cubicBezTo>
                  <a:pt x="715" y="75"/>
                  <a:pt x="708" y="76"/>
                  <a:pt x="701" y="78"/>
                </a:cubicBezTo>
                <a:cubicBezTo>
                  <a:pt x="694" y="79"/>
                  <a:pt x="687" y="82"/>
                  <a:pt x="680" y="86"/>
                </a:cubicBezTo>
                <a:cubicBezTo>
                  <a:pt x="673" y="89"/>
                  <a:pt x="667" y="93"/>
                  <a:pt x="662" y="98"/>
                </a:cubicBezTo>
                <a:cubicBezTo>
                  <a:pt x="660" y="100"/>
                  <a:pt x="658" y="101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56" y="103"/>
                  <a:pt x="656" y="103"/>
                  <a:pt x="656" y="103"/>
                </a:cubicBezTo>
                <a:cubicBezTo>
                  <a:pt x="643" y="78"/>
                  <a:pt x="643" y="78"/>
                  <a:pt x="643" y="78"/>
                </a:cubicBezTo>
                <a:cubicBezTo>
                  <a:pt x="632" y="78"/>
                  <a:pt x="632" y="78"/>
                  <a:pt x="632" y="78"/>
                </a:cubicBezTo>
                <a:cubicBezTo>
                  <a:pt x="632" y="335"/>
                  <a:pt x="632" y="335"/>
                  <a:pt x="632" y="335"/>
                </a:cubicBezTo>
                <a:cubicBezTo>
                  <a:pt x="656" y="335"/>
                  <a:pt x="656" y="335"/>
                  <a:pt x="656" y="335"/>
                </a:cubicBezTo>
                <a:cubicBezTo>
                  <a:pt x="656" y="162"/>
                  <a:pt x="656" y="162"/>
                  <a:pt x="656" y="162"/>
                </a:cubicBezTo>
                <a:cubicBezTo>
                  <a:pt x="656" y="152"/>
                  <a:pt x="658" y="144"/>
                  <a:pt x="661" y="137"/>
                </a:cubicBezTo>
                <a:cubicBezTo>
                  <a:pt x="664" y="129"/>
                  <a:pt x="669" y="122"/>
                  <a:pt x="674" y="117"/>
                </a:cubicBezTo>
                <a:cubicBezTo>
                  <a:pt x="680" y="112"/>
                  <a:pt x="687" y="108"/>
                  <a:pt x="695" y="105"/>
                </a:cubicBezTo>
                <a:cubicBezTo>
                  <a:pt x="703" y="102"/>
                  <a:pt x="712" y="100"/>
                  <a:pt x="722" y="100"/>
                </a:cubicBezTo>
                <a:cubicBezTo>
                  <a:pt x="735" y="100"/>
                  <a:pt x="745" y="102"/>
                  <a:pt x="754" y="106"/>
                </a:cubicBezTo>
                <a:cubicBezTo>
                  <a:pt x="762" y="110"/>
                  <a:pt x="769" y="115"/>
                  <a:pt x="773" y="120"/>
                </a:cubicBezTo>
                <a:cubicBezTo>
                  <a:pt x="778" y="126"/>
                  <a:pt x="781" y="133"/>
                  <a:pt x="783" y="140"/>
                </a:cubicBezTo>
                <a:cubicBezTo>
                  <a:pt x="785" y="149"/>
                  <a:pt x="786" y="156"/>
                  <a:pt x="786" y="163"/>
                </a:cubicBezTo>
                <a:cubicBezTo>
                  <a:pt x="786" y="335"/>
                  <a:pt x="786" y="335"/>
                  <a:pt x="786" y="335"/>
                </a:cubicBezTo>
                <a:cubicBezTo>
                  <a:pt x="810" y="335"/>
                  <a:pt x="810" y="335"/>
                  <a:pt x="810" y="335"/>
                </a:cubicBezTo>
                <a:cubicBezTo>
                  <a:pt x="810" y="163"/>
                  <a:pt x="810" y="163"/>
                  <a:pt x="810" y="163"/>
                </a:cubicBezTo>
                <a:cubicBezTo>
                  <a:pt x="810" y="135"/>
                  <a:pt x="802" y="113"/>
                  <a:pt x="787" y="98"/>
                </a:cubicBezTo>
                <a:cubicBezTo>
                  <a:pt x="771" y="83"/>
                  <a:pt x="749" y="75"/>
                  <a:pt x="722" y="75"/>
                </a:cubicBezTo>
                <a:close/>
                <a:moveTo>
                  <a:pt x="1650" y="337"/>
                </a:moveTo>
                <a:cubicBezTo>
                  <a:pt x="1672" y="337"/>
                  <a:pt x="1689" y="331"/>
                  <a:pt x="1701" y="321"/>
                </a:cubicBezTo>
                <a:cubicBezTo>
                  <a:pt x="1692" y="298"/>
                  <a:pt x="1692" y="298"/>
                  <a:pt x="1692" y="298"/>
                </a:cubicBezTo>
                <a:cubicBezTo>
                  <a:pt x="1683" y="306"/>
                  <a:pt x="1670" y="313"/>
                  <a:pt x="1650" y="313"/>
                </a:cubicBezTo>
                <a:cubicBezTo>
                  <a:pt x="1636" y="313"/>
                  <a:pt x="1625" y="308"/>
                  <a:pt x="1618" y="300"/>
                </a:cubicBezTo>
                <a:cubicBezTo>
                  <a:pt x="1611" y="291"/>
                  <a:pt x="1607" y="277"/>
                  <a:pt x="1607" y="256"/>
                </a:cubicBezTo>
                <a:cubicBezTo>
                  <a:pt x="1607" y="101"/>
                  <a:pt x="1607" y="101"/>
                  <a:pt x="1607" y="101"/>
                </a:cubicBezTo>
                <a:cubicBezTo>
                  <a:pt x="1685" y="101"/>
                  <a:pt x="1685" y="101"/>
                  <a:pt x="1685" y="101"/>
                </a:cubicBezTo>
                <a:cubicBezTo>
                  <a:pt x="1686" y="101"/>
                  <a:pt x="1686" y="101"/>
                  <a:pt x="1686" y="101"/>
                </a:cubicBezTo>
                <a:cubicBezTo>
                  <a:pt x="1686" y="78"/>
                  <a:pt x="1686" y="78"/>
                  <a:pt x="1686" y="78"/>
                </a:cubicBezTo>
                <a:cubicBezTo>
                  <a:pt x="1686" y="78"/>
                  <a:pt x="1686" y="78"/>
                  <a:pt x="1685" y="78"/>
                </a:cubicBezTo>
                <a:cubicBezTo>
                  <a:pt x="1607" y="78"/>
                  <a:pt x="1607" y="78"/>
                  <a:pt x="1607" y="78"/>
                </a:cubicBezTo>
                <a:cubicBezTo>
                  <a:pt x="1607" y="0"/>
                  <a:pt x="1607" y="0"/>
                  <a:pt x="1607" y="0"/>
                </a:cubicBezTo>
                <a:cubicBezTo>
                  <a:pt x="1583" y="0"/>
                  <a:pt x="1583" y="0"/>
                  <a:pt x="1583" y="0"/>
                </a:cubicBezTo>
                <a:cubicBezTo>
                  <a:pt x="1583" y="257"/>
                  <a:pt x="1583" y="257"/>
                  <a:pt x="1583" y="257"/>
                </a:cubicBezTo>
                <a:cubicBezTo>
                  <a:pt x="1583" y="284"/>
                  <a:pt x="1589" y="304"/>
                  <a:pt x="1600" y="317"/>
                </a:cubicBezTo>
                <a:cubicBezTo>
                  <a:pt x="1612" y="330"/>
                  <a:pt x="1629" y="337"/>
                  <a:pt x="1650" y="337"/>
                </a:cubicBezTo>
                <a:close/>
                <a:moveTo>
                  <a:pt x="248" y="75"/>
                </a:moveTo>
                <a:cubicBezTo>
                  <a:pt x="248" y="75"/>
                  <a:pt x="248" y="75"/>
                  <a:pt x="248" y="75"/>
                </a:cubicBezTo>
                <a:cubicBezTo>
                  <a:pt x="247" y="75"/>
                  <a:pt x="247" y="75"/>
                  <a:pt x="247" y="75"/>
                </a:cubicBezTo>
                <a:cubicBezTo>
                  <a:pt x="219" y="75"/>
                  <a:pt x="197" y="83"/>
                  <a:pt x="181" y="98"/>
                </a:cubicBezTo>
                <a:cubicBezTo>
                  <a:pt x="176" y="103"/>
                  <a:pt x="172" y="108"/>
                  <a:pt x="169" y="114"/>
                </a:cubicBezTo>
                <a:cubicBezTo>
                  <a:pt x="166" y="108"/>
                  <a:pt x="162" y="103"/>
                  <a:pt x="157" y="98"/>
                </a:cubicBezTo>
                <a:cubicBezTo>
                  <a:pt x="141" y="83"/>
                  <a:pt x="120" y="75"/>
                  <a:pt x="92" y="75"/>
                </a:cubicBezTo>
                <a:cubicBezTo>
                  <a:pt x="90" y="75"/>
                  <a:pt x="90" y="75"/>
                  <a:pt x="90" y="75"/>
                </a:cubicBezTo>
                <a:cubicBezTo>
                  <a:pt x="62" y="75"/>
                  <a:pt x="40" y="83"/>
                  <a:pt x="24" y="98"/>
                </a:cubicBezTo>
                <a:cubicBezTo>
                  <a:pt x="8" y="114"/>
                  <a:pt x="0" y="136"/>
                  <a:pt x="0" y="164"/>
                </a:cubicBezTo>
                <a:cubicBezTo>
                  <a:pt x="0" y="335"/>
                  <a:pt x="0" y="335"/>
                  <a:pt x="0" y="335"/>
                </a:cubicBezTo>
                <a:cubicBezTo>
                  <a:pt x="25" y="335"/>
                  <a:pt x="25" y="335"/>
                  <a:pt x="25" y="335"/>
                </a:cubicBezTo>
                <a:cubicBezTo>
                  <a:pt x="25" y="164"/>
                  <a:pt x="25" y="164"/>
                  <a:pt x="25" y="164"/>
                </a:cubicBezTo>
                <a:cubicBezTo>
                  <a:pt x="25" y="156"/>
                  <a:pt x="26" y="149"/>
                  <a:pt x="27" y="141"/>
                </a:cubicBezTo>
                <a:cubicBezTo>
                  <a:pt x="29" y="134"/>
                  <a:pt x="33" y="127"/>
                  <a:pt x="37" y="121"/>
                </a:cubicBezTo>
                <a:cubicBezTo>
                  <a:pt x="42" y="115"/>
                  <a:pt x="49" y="110"/>
                  <a:pt x="57" y="106"/>
                </a:cubicBezTo>
                <a:cubicBezTo>
                  <a:pt x="65" y="102"/>
                  <a:pt x="76" y="100"/>
                  <a:pt x="89" y="100"/>
                </a:cubicBezTo>
                <a:cubicBezTo>
                  <a:pt x="89" y="100"/>
                  <a:pt x="90" y="100"/>
                  <a:pt x="91" y="100"/>
                </a:cubicBezTo>
                <a:cubicBezTo>
                  <a:pt x="104" y="100"/>
                  <a:pt x="115" y="102"/>
                  <a:pt x="124" y="106"/>
                </a:cubicBezTo>
                <a:cubicBezTo>
                  <a:pt x="132" y="110"/>
                  <a:pt x="139" y="115"/>
                  <a:pt x="143" y="121"/>
                </a:cubicBezTo>
                <a:cubicBezTo>
                  <a:pt x="148" y="127"/>
                  <a:pt x="151" y="133"/>
                  <a:pt x="153" y="141"/>
                </a:cubicBezTo>
                <a:cubicBezTo>
                  <a:pt x="155" y="149"/>
                  <a:pt x="156" y="157"/>
                  <a:pt x="156" y="164"/>
                </a:cubicBezTo>
                <a:cubicBezTo>
                  <a:pt x="156" y="335"/>
                  <a:pt x="156" y="335"/>
                  <a:pt x="156" y="335"/>
                </a:cubicBezTo>
                <a:cubicBezTo>
                  <a:pt x="182" y="335"/>
                  <a:pt x="182" y="335"/>
                  <a:pt x="182" y="335"/>
                </a:cubicBezTo>
                <a:cubicBezTo>
                  <a:pt x="182" y="164"/>
                  <a:pt x="182" y="164"/>
                  <a:pt x="182" y="164"/>
                </a:cubicBezTo>
                <a:cubicBezTo>
                  <a:pt x="182" y="157"/>
                  <a:pt x="183" y="149"/>
                  <a:pt x="185" y="141"/>
                </a:cubicBezTo>
                <a:cubicBezTo>
                  <a:pt x="186" y="134"/>
                  <a:pt x="190" y="127"/>
                  <a:pt x="194" y="121"/>
                </a:cubicBezTo>
                <a:cubicBezTo>
                  <a:pt x="199" y="115"/>
                  <a:pt x="206" y="110"/>
                  <a:pt x="214" y="106"/>
                </a:cubicBezTo>
                <a:cubicBezTo>
                  <a:pt x="222" y="102"/>
                  <a:pt x="233" y="100"/>
                  <a:pt x="246" y="100"/>
                </a:cubicBezTo>
                <a:cubicBezTo>
                  <a:pt x="247" y="100"/>
                  <a:pt x="247" y="100"/>
                  <a:pt x="248" y="100"/>
                </a:cubicBezTo>
                <a:cubicBezTo>
                  <a:pt x="262" y="100"/>
                  <a:pt x="273" y="102"/>
                  <a:pt x="281" y="106"/>
                </a:cubicBezTo>
                <a:cubicBezTo>
                  <a:pt x="289" y="110"/>
                  <a:pt x="296" y="115"/>
                  <a:pt x="301" y="121"/>
                </a:cubicBezTo>
                <a:cubicBezTo>
                  <a:pt x="305" y="127"/>
                  <a:pt x="309" y="134"/>
                  <a:pt x="311" y="141"/>
                </a:cubicBezTo>
                <a:cubicBezTo>
                  <a:pt x="312" y="149"/>
                  <a:pt x="313" y="157"/>
                  <a:pt x="313" y="164"/>
                </a:cubicBezTo>
                <a:cubicBezTo>
                  <a:pt x="313" y="335"/>
                  <a:pt x="313" y="335"/>
                  <a:pt x="313" y="335"/>
                </a:cubicBezTo>
                <a:cubicBezTo>
                  <a:pt x="338" y="335"/>
                  <a:pt x="338" y="335"/>
                  <a:pt x="338" y="335"/>
                </a:cubicBezTo>
                <a:cubicBezTo>
                  <a:pt x="338" y="164"/>
                  <a:pt x="338" y="164"/>
                  <a:pt x="338" y="164"/>
                </a:cubicBezTo>
                <a:cubicBezTo>
                  <a:pt x="338" y="136"/>
                  <a:pt x="330" y="114"/>
                  <a:pt x="314" y="98"/>
                </a:cubicBezTo>
                <a:cubicBezTo>
                  <a:pt x="298" y="83"/>
                  <a:pt x="276" y="75"/>
                  <a:pt x="248" y="75"/>
                </a:cubicBezTo>
                <a:close/>
                <a:moveTo>
                  <a:pt x="1522" y="334"/>
                </a:moveTo>
                <a:cubicBezTo>
                  <a:pt x="1523" y="334"/>
                  <a:pt x="1523" y="334"/>
                  <a:pt x="1524" y="334"/>
                </a:cubicBezTo>
                <a:cubicBezTo>
                  <a:pt x="1524" y="311"/>
                  <a:pt x="1524" y="311"/>
                  <a:pt x="1524" y="311"/>
                </a:cubicBezTo>
                <a:cubicBezTo>
                  <a:pt x="1523" y="311"/>
                  <a:pt x="1523" y="311"/>
                  <a:pt x="1522" y="311"/>
                </a:cubicBezTo>
                <a:cubicBezTo>
                  <a:pt x="1472" y="311"/>
                  <a:pt x="1472" y="311"/>
                  <a:pt x="1472" y="311"/>
                </a:cubicBezTo>
                <a:cubicBezTo>
                  <a:pt x="1472" y="78"/>
                  <a:pt x="1472" y="78"/>
                  <a:pt x="1472" y="78"/>
                </a:cubicBezTo>
                <a:cubicBezTo>
                  <a:pt x="1381" y="78"/>
                  <a:pt x="1381" y="78"/>
                  <a:pt x="1381" y="78"/>
                </a:cubicBezTo>
                <a:cubicBezTo>
                  <a:pt x="1380" y="78"/>
                  <a:pt x="1380" y="78"/>
                  <a:pt x="1380" y="78"/>
                </a:cubicBezTo>
                <a:cubicBezTo>
                  <a:pt x="1380" y="101"/>
                  <a:pt x="1380" y="101"/>
                  <a:pt x="1380" y="101"/>
                </a:cubicBezTo>
                <a:cubicBezTo>
                  <a:pt x="1380" y="101"/>
                  <a:pt x="1380" y="101"/>
                  <a:pt x="1381" y="101"/>
                </a:cubicBezTo>
                <a:cubicBezTo>
                  <a:pt x="1447" y="101"/>
                  <a:pt x="1447" y="101"/>
                  <a:pt x="1447" y="101"/>
                </a:cubicBezTo>
                <a:cubicBezTo>
                  <a:pt x="1447" y="311"/>
                  <a:pt x="1447" y="311"/>
                  <a:pt x="1447" y="311"/>
                </a:cubicBezTo>
                <a:cubicBezTo>
                  <a:pt x="1381" y="311"/>
                  <a:pt x="1381" y="311"/>
                  <a:pt x="1381" y="311"/>
                </a:cubicBezTo>
                <a:cubicBezTo>
                  <a:pt x="1380" y="311"/>
                  <a:pt x="1380" y="311"/>
                  <a:pt x="1380" y="311"/>
                </a:cubicBezTo>
                <a:cubicBezTo>
                  <a:pt x="1380" y="334"/>
                  <a:pt x="1380" y="334"/>
                  <a:pt x="1380" y="334"/>
                </a:cubicBezTo>
                <a:cubicBezTo>
                  <a:pt x="1380" y="334"/>
                  <a:pt x="1380" y="334"/>
                  <a:pt x="1381" y="334"/>
                </a:cubicBezTo>
                <a:lnTo>
                  <a:pt x="1522" y="334"/>
                </a:lnTo>
                <a:close/>
                <a:moveTo>
                  <a:pt x="507" y="78"/>
                </a:moveTo>
                <a:cubicBezTo>
                  <a:pt x="415" y="78"/>
                  <a:pt x="415" y="78"/>
                  <a:pt x="415" y="78"/>
                </a:cubicBezTo>
                <a:cubicBezTo>
                  <a:pt x="414" y="78"/>
                  <a:pt x="413" y="78"/>
                  <a:pt x="412" y="79"/>
                </a:cubicBezTo>
                <a:cubicBezTo>
                  <a:pt x="412" y="101"/>
                  <a:pt x="412" y="101"/>
                  <a:pt x="412" y="101"/>
                </a:cubicBezTo>
                <a:cubicBezTo>
                  <a:pt x="413" y="101"/>
                  <a:pt x="414" y="101"/>
                  <a:pt x="415" y="101"/>
                </a:cubicBezTo>
                <a:cubicBezTo>
                  <a:pt x="482" y="101"/>
                  <a:pt x="482" y="101"/>
                  <a:pt x="482" y="101"/>
                </a:cubicBezTo>
                <a:cubicBezTo>
                  <a:pt x="482" y="311"/>
                  <a:pt x="482" y="311"/>
                  <a:pt x="482" y="311"/>
                </a:cubicBezTo>
                <a:cubicBezTo>
                  <a:pt x="412" y="311"/>
                  <a:pt x="412" y="311"/>
                  <a:pt x="412" y="311"/>
                </a:cubicBezTo>
                <a:cubicBezTo>
                  <a:pt x="412" y="334"/>
                  <a:pt x="412" y="334"/>
                  <a:pt x="412" y="334"/>
                </a:cubicBezTo>
                <a:cubicBezTo>
                  <a:pt x="413" y="334"/>
                  <a:pt x="556" y="334"/>
                  <a:pt x="556" y="334"/>
                </a:cubicBezTo>
                <a:cubicBezTo>
                  <a:pt x="556" y="311"/>
                  <a:pt x="556" y="311"/>
                  <a:pt x="556" y="311"/>
                </a:cubicBezTo>
                <a:cubicBezTo>
                  <a:pt x="507" y="311"/>
                  <a:pt x="507" y="311"/>
                  <a:pt x="507" y="311"/>
                </a:cubicBezTo>
                <a:lnTo>
                  <a:pt x="507" y="78"/>
                </a:lnTo>
                <a:close/>
                <a:moveTo>
                  <a:pt x="1297" y="126"/>
                </a:moveTo>
                <a:cubicBezTo>
                  <a:pt x="1301" y="137"/>
                  <a:pt x="1303" y="149"/>
                  <a:pt x="1303" y="162"/>
                </a:cubicBezTo>
                <a:cubicBezTo>
                  <a:pt x="1303" y="334"/>
                  <a:pt x="1303" y="334"/>
                  <a:pt x="1303" y="334"/>
                </a:cubicBezTo>
                <a:cubicBezTo>
                  <a:pt x="1288" y="334"/>
                  <a:pt x="1288" y="334"/>
                  <a:pt x="1288" y="334"/>
                </a:cubicBezTo>
                <a:cubicBezTo>
                  <a:pt x="1280" y="314"/>
                  <a:pt x="1280" y="314"/>
                  <a:pt x="1280" y="314"/>
                </a:cubicBezTo>
                <a:cubicBezTo>
                  <a:pt x="1280" y="315"/>
                  <a:pt x="1280" y="315"/>
                  <a:pt x="1280" y="315"/>
                </a:cubicBezTo>
                <a:cubicBezTo>
                  <a:pt x="1280" y="313"/>
                  <a:pt x="1280" y="313"/>
                  <a:pt x="1280" y="313"/>
                </a:cubicBezTo>
                <a:cubicBezTo>
                  <a:pt x="1280" y="314"/>
                  <a:pt x="1279" y="314"/>
                  <a:pt x="1279" y="314"/>
                </a:cubicBezTo>
                <a:cubicBezTo>
                  <a:pt x="1263" y="329"/>
                  <a:pt x="1241" y="337"/>
                  <a:pt x="1214" y="337"/>
                </a:cubicBezTo>
                <a:cubicBezTo>
                  <a:pt x="1186" y="337"/>
                  <a:pt x="1164" y="329"/>
                  <a:pt x="1148" y="314"/>
                </a:cubicBezTo>
                <a:cubicBezTo>
                  <a:pt x="1132" y="299"/>
                  <a:pt x="1124" y="277"/>
                  <a:pt x="1124" y="249"/>
                </a:cubicBezTo>
                <a:cubicBezTo>
                  <a:pt x="1124" y="162"/>
                  <a:pt x="1124" y="162"/>
                  <a:pt x="1124" y="162"/>
                </a:cubicBezTo>
                <a:cubicBezTo>
                  <a:pt x="1124" y="149"/>
                  <a:pt x="1126" y="137"/>
                  <a:pt x="1130" y="126"/>
                </a:cubicBezTo>
                <a:cubicBezTo>
                  <a:pt x="1135" y="116"/>
                  <a:pt x="1141" y="106"/>
                  <a:pt x="1148" y="99"/>
                </a:cubicBezTo>
                <a:cubicBezTo>
                  <a:pt x="1156" y="91"/>
                  <a:pt x="1165" y="85"/>
                  <a:pt x="1177" y="81"/>
                </a:cubicBezTo>
                <a:cubicBezTo>
                  <a:pt x="1199" y="73"/>
                  <a:pt x="1228" y="73"/>
                  <a:pt x="1250" y="81"/>
                </a:cubicBezTo>
                <a:cubicBezTo>
                  <a:pt x="1262" y="85"/>
                  <a:pt x="1271" y="91"/>
                  <a:pt x="1279" y="99"/>
                </a:cubicBezTo>
                <a:cubicBezTo>
                  <a:pt x="1286" y="106"/>
                  <a:pt x="1293" y="116"/>
                  <a:pt x="1297" y="126"/>
                </a:cubicBezTo>
                <a:close/>
                <a:moveTo>
                  <a:pt x="1278" y="162"/>
                </a:moveTo>
                <a:cubicBezTo>
                  <a:pt x="1278" y="143"/>
                  <a:pt x="1272" y="127"/>
                  <a:pt x="1261" y="116"/>
                </a:cubicBezTo>
                <a:cubicBezTo>
                  <a:pt x="1250" y="105"/>
                  <a:pt x="1234" y="100"/>
                  <a:pt x="1214" y="100"/>
                </a:cubicBezTo>
                <a:cubicBezTo>
                  <a:pt x="1193" y="100"/>
                  <a:pt x="1177" y="105"/>
                  <a:pt x="1166" y="116"/>
                </a:cubicBezTo>
                <a:cubicBezTo>
                  <a:pt x="1155" y="127"/>
                  <a:pt x="1149" y="142"/>
                  <a:pt x="1149" y="162"/>
                </a:cubicBezTo>
                <a:cubicBezTo>
                  <a:pt x="1149" y="249"/>
                  <a:pt x="1149" y="249"/>
                  <a:pt x="1149" y="249"/>
                </a:cubicBezTo>
                <a:cubicBezTo>
                  <a:pt x="1149" y="256"/>
                  <a:pt x="1150" y="263"/>
                  <a:pt x="1152" y="271"/>
                </a:cubicBezTo>
                <a:cubicBezTo>
                  <a:pt x="1154" y="278"/>
                  <a:pt x="1157" y="285"/>
                  <a:pt x="1162" y="291"/>
                </a:cubicBezTo>
                <a:cubicBezTo>
                  <a:pt x="1166" y="297"/>
                  <a:pt x="1173" y="302"/>
                  <a:pt x="1181" y="306"/>
                </a:cubicBezTo>
                <a:cubicBezTo>
                  <a:pt x="1189" y="310"/>
                  <a:pt x="1200" y="312"/>
                  <a:pt x="1214" y="312"/>
                </a:cubicBezTo>
                <a:cubicBezTo>
                  <a:pt x="1227" y="312"/>
                  <a:pt x="1238" y="310"/>
                  <a:pt x="1246" y="306"/>
                </a:cubicBezTo>
                <a:cubicBezTo>
                  <a:pt x="1255" y="302"/>
                  <a:pt x="1261" y="297"/>
                  <a:pt x="1266" y="291"/>
                </a:cubicBezTo>
                <a:cubicBezTo>
                  <a:pt x="1270" y="285"/>
                  <a:pt x="1273" y="278"/>
                  <a:pt x="1275" y="271"/>
                </a:cubicBezTo>
                <a:cubicBezTo>
                  <a:pt x="1277" y="263"/>
                  <a:pt x="1278" y="256"/>
                  <a:pt x="1278" y="249"/>
                </a:cubicBezTo>
                <a:lnTo>
                  <a:pt x="1278" y="162"/>
                </a:lnTo>
                <a:close/>
              </a:path>
            </a:pathLst>
          </a:custGeom>
          <a:solidFill>
            <a:srgbClr val="1A3B47"/>
          </a:solidFill>
          <a:ln>
            <a:noFill/>
          </a:ln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/>
          <a:p>
            <a:endParaRPr lang="es-ES" sz="1013"/>
          </a:p>
        </p:txBody>
      </p:sp>
    </p:spTree>
    <p:extLst>
      <p:ext uri="{BB962C8B-B14F-4D97-AF65-F5344CB8AC3E}">
        <p14:creationId xmlns:p14="http://schemas.microsoft.com/office/powerpoint/2010/main" val="36197498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Portada fo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posición de imagen 6">
            <a:extLst>
              <a:ext uri="{FF2B5EF4-FFF2-40B4-BE49-F238E27FC236}">
                <a16:creationId xmlns:a16="http://schemas.microsoft.com/office/drawing/2014/main" id="{B687104C-16D4-5049-93EC-3E0017E53BB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/>
            </a:lvl1pPr>
          </a:lstStyle>
          <a:p>
            <a:r>
              <a:rPr lang="es-ES"/>
              <a:t>Haga clic en el icono para agregar una imagen</a:t>
            </a:r>
            <a:endParaRPr lang="es-ES" dirty="0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1" y="2483427"/>
            <a:ext cx="3631622" cy="18603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1" y="2807283"/>
            <a:ext cx="2794000" cy="11961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286929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2255" y="1066236"/>
            <a:ext cx="567299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474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Portada bl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4521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02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4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3311208"/>
            <a:ext cx="4238625" cy="2178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Editar el subtitulo de la presentación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821522"/>
            <a:ext cx="4733059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4000"/>
            </a:lvl1pPr>
          </a:lstStyle>
          <a:p>
            <a:r>
              <a:rPr lang="es-ES" dirty="0"/>
              <a:t>Haga clic para el título principal</a:t>
            </a:r>
            <a:endParaRPr lang="en-US" dirty="0"/>
          </a:p>
        </p:txBody>
      </p:sp>
      <p:sp>
        <p:nvSpPr>
          <p:cNvPr id="6" name="Marcador de contenido 10">
            <a:extLst>
              <a:ext uri="{FF2B5EF4-FFF2-40B4-BE49-F238E27FC236}">
                <a16:creationId xmlns:a16="http://schemas.microsoft.com/office/drawing/2014/main" id="{0ED2E0BC-0F09-B942-97D8-1F9D0BA0C15C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252000" y="3639821"/>
            <a:ext cx="4238625" cy="1495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r>
              <a:rPr lang="es-ES" dirty="0"/>
              <a:t>Lugar. 00.00.0000</a:t>
            </a:r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915FE453-3A51-064C-9757-E79594281FF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52000" y="739775"/>
            <a:ext cx="1349375" cy="47942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es-ES" dirty="0"/>
              <a:t>Logo cliente</a:t>
            </a:r>
          </a:p>
        </p:txBody>
      </p:sp>
      <p:pic>
        <p:nvPicPr>
          <p:cNvPr id="9" name="Imagen 8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52000" y="4747795"/>
            <a:ext cx="1492934" cy="22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65362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_Endo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o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4463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23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532CE555-1DDB-8942-BE50-84CBE073EB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pic>
        <p:nvPicPr>
          <p:cNvPr id="4" name="Imagen 3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52000" y="4889640"/>
            <a:ext cx="1223656" cy="185901"/>
          </a:xfrm>
          <a:prstGeom prst="rect">
            <a:avLst/>
          </a:prstGeom>
        </p:spPr>
      </p:pic>
      <p:grpSp>
        <p:nvGrpSpPr>
          <p:cNvPr id="6" name="Grupo 5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7" name="Forma libre 6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8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09767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. Texto estánd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5831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09" name="Diapositiva de think-cell" r:id="rId5" imgW="270" imgH="270" progId="TCLayout.ActiveDocument.1">
                  <p:embed/>
                </p:oleObj>
              </mc:Choice>
              <mc:Fallback>
                <p:oleObj name="Diapositiva de think-cell" r:id="rId5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s-ES" sz="2000" b="0" i="0" baseline="0" dirty="0">
              <a:latin typeface="Playfair Display" panose="00000500000000000000" pitchFamily="2" charset="0"/>
              <a:ea typeface="+mj-ea"/>
              <a:cs typeface="+mj-cs"/>
              <a:sym typeface="Playfair Display" panose="00000500000000000000" pitchFamily="2" charset="0"/>
            </a:endParaRP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6818"/>
            <a:ext cx="8639588" cy="68950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000"/>
            </a:lvl1pPr>
          </a:lstStyle>
          <a:p>
            <a:r>
              <a:rPr lang="es-ES" dirty="0"/>
              <a:t>Haga clic para modificar el título de esta página, cuentas con dos líneas para títulos extensos</a:t>
            </a:r>
            <a:endParaRPr lang="en-US" dirty="0"/>
          </a:p>
        </p:txBody>
      </p:sp>
      <p:sp>
        <p:nvSpPr>
          <p:cNvPr id="9" name="12 Marcador de texto"/>
          <p:cNvSpPr>
            <a:spLocks noGrp="1"/>
          </p:cNvSpPr>
          <p:nvPr>
            <p:ph type="body" sz="quarter" idx="13"/>
          </p:nvPr>
        </p:nvSpPr>
        <p:spPr>
          <a:xfrm>
            <a:off x="252000" y="267750"/>
            <a:ext cx="8639588" cy="188640"/>
          </a:xfrm>
          <a:prstGeom prst="rect">
            <a:avLst/>
          </a:prstGeom>
        </p:spPr>
        <p:txBody>
          <a:bodyPr lIns="0" anchor="t" anchorCtr="0">
            <a:noAutofit/>
          </a:bodyPr>
          <a:lstStyle>
            <a:lvl1pPr marL="0" indent="0">
              <a:buNone/>
              <a:defRPr kumimoji="0" lang="es-ES" sz="800" b="0" i="0" u="none" strike="noStrike" kern="1200" cap="none" spc="0" normalizeH="0" baseline="0" dirty="0" smtClean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Soho Gothic Pro" panose="020B0503030504020204" pitchFamily="34" charset="0"/>
                <a:ea typeface="+mn-ea"/>
                <a:cs typeface="Soho Gothic Pro" panose="020B0503030504020204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just" defTabSz="84408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D3935">
                  <a:lumMod val="75000"/>
                </a:srgbClr>
              </a:buClr>
              <a:buSzTx/>
              <a:buFont typeface="Arial" pitchFamily="34" charset="0"/>
              <a:buNone/>
              <a:tabLst/>
              <a:defRPr/>
            </a:pPr>
            <a:r>
              <a:rPr lang="es-ES" dirty="0"/>
              <a:t>Editar el estilo de texto del patrón</a:t>
            </a:r>
          </a:p>
        </p:txBody>
      </p:sp>
      <p:grpSp>
        <p:nvGrpSpPr>
          <p:cNvPr id="7" name="Grupo 6"/>
          <p:cNvGrpSpPr/>
          <p:nvPr userDrawn="1"/>
        </p:nvGrpSpPr>
        <p:grpSpPr>
          <a:xfrm>
            <a:off x="7746702" y="4681792"/>
            <a:ext cx="1403648" cy="481958"/>
            <a:chOff x="8064500" y="4790414"/>
            <a:chExt cx="1083150" cy="371911"/>
          </a:xfrm>
        </p:grpSpPr>
        <p:sp>
          <p:nvSpPr>
            <p:cNvPr id="10" name="Forma libre 9">
              <a:extLst>
                <a:ext uri="{FF2B5EF4-FFF2-40B4-BE49-F238E27FC236}">
                  <a16:creationId xmlns:a16="http://schemas.microsoft.com/office/drawing/2014/main" id="{C6C3A9BA-FA29-AF49-93DF-C962E39BE4D1}"/>
                </a:ext>
              </a:extLst>
            </p:cNvPr>
            <p:cNvSpPr/>
            <p:nvPr userDrawn="1"/>
          </p:nvSpPr>
          <p:spPr>
            <a:xfrm>
              <a:off x="8261825" y="4790414"/>
              <a:ext cx="885825" cy="349250"/>
            </a:xfrm>
            <a:custGeom>
              <a:avLst/>
              <a:gdLst>
                <a:gd name="connsiteX0" fmla="*/ 885825 w 885825"/>
                <a:gd name="connsiteY0" fmla="*/ 225425 h 349250"/>
                <a:gd name="connsiteX1" fmla="*/ 885825 w 885825"/>
                <a:gd name="connsiteY1" fmla="*/ 0 h 349250"/>
                <a:gd name="connsiteX2" fmla="*/ 0 w 885825"/>
                <a:gd name="connsiteY2" fmla="*/ 250825 h 349250"/>
                <a:gd name="connsiteX3" fmla="*/ 0 w 885825"/>
                <a:gd name="connsiteY3" fmla="*/ 349250 h 349250"/>
                <a:gd name="connsiteX4" fmla="*/ 885825 w 885825"/>
                <a:gd name="connsiteY4" fmla="*/ 225425 h 349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85825" h="349250">
                  <a:moveTo>
                    <a:pt x="885825" y="225425"/>
                  </a:moveTo>
                  <a:lnTo>
                    <a:pt x="885825" y="0"/>
                  </a:lnTo>
                  <a:lnTo>
                    <a:pt x="0" y="250825"/>
                  </a:lnTo>
                  <a:lnTo>
                    <a:pt x="0" y="349250"/>
                  </a:lnTo>
                  <a:lnTo>
                    <a:pt x="885825" y="225425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s-ES"/>
            </a:p>
          </p:txBody>
        </p:sp>
        <p:sp>
          <p:nvSpPr>
            <p:cNvPr id="11" name="Triángulo 10">
              <a:extLst>
                <a:ext uri="{FF2B5EF4-FFF2-40B4-BE49-F238E27FC236}">
                  <a16:creationId xmlns:a16="http://schemas.microsoft.com/office/drawing/2014/main" id="{400DAD3A-8917-4A46-A174-4210FBD17B57}"/>
                </a:ext>
              </a:extLst>
            </p:cNvPr>
            <p:cNvSpPr/>
            <p:nvPr userDrawn="1"/>
          </p:nvSpPr>
          <p:spPr>
            <a:xfrm>
              <a:off x="8064500" y="4844050"/>
              <a:ext cx="1083150" cy="318275"/>
            </a:xfrm>
            <a:custGeom>
              <a:avLst/>
              <a:gdLst>
                <a:gd name="connsiteX0" fmla="*/ 0 w 2282400"/>
                <a:gd name="connsiteY0" fmla="*/ 1101600 h 1101600"/>
                <a:gd name="connsiteX1" fmla="*/ 1141200 w 2282400"/>
                <a:gd name="connsiteY1" fmla="*/ 0 h 1101600"/>
                <a:gd name="connsiteX2" fmla="*/ 2282400 w 2282400"/>
                <a:gd name="connsiteY2" fmla="*/ 1101600 h 1101600"/>
                <a:gd name="connsiteX3" fmla="*/ 0 w 2282400"/>
                <a:gd name="connsiteY3" fmla="*/ 1101600 h 1101600"/>
                <a:gd name="connsiteX0" fmla="*/ 0 w 2300400"/>
                <a:gd name="connsiteY0" fmla="*/ 302400 h 302400"/>
                <a:gd name="connsiteX1" fmla="*/ 2300400 w 2300400"/>
                <a:gd name="connsiteY1" fmla="*/ 0 h 302400"/>
                <a:gd name="connsiteX2" fmla="*/ 2282400 w 2300400"/>
                <a:gd name="connsiteY2" fmla="*/ 302400 h 302400"/>
                <a:gd name="connsiteX3" fmla="*/ 0 w 2300400"/>
                <a:gd name="connsiteY3" fmla="*/ 302400 h 302400"/>
                <a:gd name="connsiteX0" fmla="*/ 0 w 1026000"/>
                <a:gd name="connsiteY0" fmla="*/ 295200 h 302400"/>
                <a:gd name="connsiteX1" fmla="*/ 1026000 w 1026000"/>
                <a:gd name="connsiteY1" fmla="*/ 0 h 302400"/>
                <a:gd name="connsiteX2" fmla="*/ 1008000 w 1026000"/>
                <a:gd name="connsiteY2" fmla="*/ 302400 h 302400"/>
                <a:gd name="connsiteX3" fmla="*/ 0 w 1026000"/>
                <a:gd name="connsiteY3" fmla="*/ 295200 h 3024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08000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5100"/>
                <a:gd name="connsiteX1" fmla="*/ 1083150 w 1083150"/>
                <a:gd name="connsiteY1" fmla="*/ 0 h 315100"/>
                <a:gd name="connsiteX2" fmla="*/ 1074675 w 1083150"/>
                <a:gd name="connsiteY2" fmla="*/ 315100 h 315100"/>
                <a:gd name="connsiteX3" fmla="*/ 0 w 1083150"/>
                <a:gd name="connsiteY3" fmla="*/ 307900 h 315100"/>
                <a:gd name="connsiteX0" fmla="*/ 0 w 1083150"/>
                <a:gd name="connsiteY0" fmla="*/ 307900 h 318275"/>
                <a:gd name="connsiteX1" fmla="*/ 1083150 w 1083150"/>
                <a:gd name="connsiteY1" fmla="*/ 0 h 318275"/>
                <a:gd name="connsiteX2" fmla="*/ 1081025 w 1083150"/>
                <a:gd name="connsiteY2" fmla="*/ 318275 h 318275"/>
                <a:gd name="connsiteX3" fmla="*/ 0 w 1083150"/>
                <a:gd name="connsiteY3" fmla="*/ 307900 h 318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83150" h="318275">
                  <a:moveTo>
                    <a:pt x="0" y="307900"/>
                  </a:moveTo>
                  <a:lnTo>
                    <a:pt x="1083150" y="0"/>
                  </a:lnTo>
                  <a:cubicBezTo>
                    <a:pt x="1082442" y="106092"/>
                    <a:pt x="1081733" y="212183"/>
                    <a:pt x="1081025" y="318275"/>
                  </a:cubicBezTo>
                  <a:lnTo>
                    <a:pt x="0" y="30790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3" name="Imagen 12"/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52000" y="4889640"/>
            <a:ext cx="1223656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75610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parata n1. Ver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orma libre 5">
            <a:extLst>
              <a:ext uri="{FF2B5EF4-FFF2-40B4-BE49-F238E27FC236}">
                <a16:creationId xmlns:a16="http://schemas.microsoft.com/office/drawing/2014/main" id="{41465661-9344-294D-87E2-E771F83ADFA7}"/>
              </a:ext>
            </a:extLst>
          </p:cNvPr>
          <p:cNvSpPr/>
          <p:nvPr userDrawn="1"/>
        </p:nvSpPr>
        <p:spPr>
          <a:xfrm>
            <a:off x="3246188" y="1674712"/>
            <a:ext cx="5954590" cy="35681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1004426 w 3575725"/>
              <a:gd name="connsiteY4" fmla="*/ 3134611 h 3139345"/>
              <a:gd name="connsiteX5" fmla="*/ 0 w 3575725"/>
              <a:gd name="connsiteY5" fmla="*/ 2126285 h 3139345"/>
              <a:gd name="connsiteX0" fmla="*/ 0 w 3575725"/>
              <a:gd name="connsiteY0" fmla="*/ 2126285 h 3139345"/>
              <a:gd name="connsiteX1" fmla="*/ 1945 w 3575725"/>
              <a:gd name="connsiteY1" fmla="*/ 1021080 h 3139345"/>
              <a:gd name="connsiteX2" fmla="*/ 3575725 w 3575725"/>
              <a:gd name="connsiteY2" fmla="*/ 0 h 3139345"/>
              <a:gd name="connsiteX3" fmla="*/ 3570991 w 3575725"/>
              <a:gd name="connsiteY3" fmla="*/ 3139345 h 3139345"/>
              <a:gd name="connsiteX4" fmla="*/ 2606583 w 3575725"/>
              <a:gd name="connsiteY4" fmla="*/ 2141725 h 3139345"/>
              <a:gd name="connsiteX5" fmla="*/ 0 w 3575725"/>
              <a:gd name="connsiteY5" fmla="*/ 2126285 h 3139345"/>
              <a:gd name="connsiteX0" fmla="*/ 0 w 3575725"/>
              <a:gd name="connsiteY0" fmla="*/ 2126285 h 2142697"/>
              <a:gd name="connsiteX1" fmla="*/ 1945 w 3575725"/>
              <a:gd name="connsiteY1" fmla="*/ 1021080 h 2142697"/>
              <a:gd name="connsiteX2" fmla="*/ 3575725 w 3575725"/>
              <a:gd name="connsiteY2" fmla="*/ 0 h 2142697"/>
              <a:gd name="connsiteX3" fmla="*/ 3574752 w 3575725"/>
              <a:gd name="connsiteY3" fmla="*/ 2142697 h 2142697"/>
              <a:gd name="connsiteX4" fmla="*/ 2606583 w 3575725"/>
              <a:gd name="connsiteY4" fmla="*/ 2141725 h 2142697"/>
              <a:gd name="connsiteX5" fmla="*/ 0 w 3575725"/>
              <a:gd name="connsiteY5" fmla="*/ 2126285 h 21426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75725" h="2142697">
                <a:moveTo>
                  <a:pt x="0" y="2126285"/>
                </a:moveTo>
                <a:cubicBezTo>
                  <a:pt x="3156" y="1423160"/>
                  <a:pt x="-1211" y="1724205"/>
                  <a:pt x="1945" y="1021080"/>
                </a:cubicBezTo>
                <a:lnTo>
                  <a:pt x="3575725" y="0"/>
                </a:lnTo>
                <a:cubicBezTo>
                  <a:pt x="3575401" y="714232"/>
                  <a:pt x="3575076" y="1428465"/>
                  <a:pt x="3574752" y="2142697"/>
                </a:cubicBezTo>
                <a:lnTo>
                  <a:pt x="2606583" y="2141725"/>
                </a:lnTo>
                <a:lnTo>
                  <a:pt x="0" y="2126285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3" name="Forma libre 6">
            <a:extLst>
              <a:ext uri="{FF2B5EF4-FFF2-40B4-BE49-F238E27FC236}">
                <a16:creationId xmlns:a16="http://schemas.microsoft.com/office/drawing/2014/main" id="{BA9724B3-C66A-4045-8A68-B9E509488744}"/>
              </a:ext>
            </a:extLst>
          </p:cNvPr>
          <p:cNvSpPr/>
          <p:nvPr userDrawn="1"/>
        </p:nvSpPr>
        <p:spPr>
          <a:xfrm>
            <a:off x="2097272" y="670702"/>
            <a:ext cx="5967116" cy="457220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2736231 h 3139345"/>
              <a:gd name="connsiteX0" fmla="*/ 0 w 3583247"/>
              <a:gd name="connsiteY0" fmla="*/ 2736231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448410 w 3583247"/>
              <a:gd name="connsiteY4" fmla="*/ 2740388 h 3139345"/>
              <a:gd name="connsiteX5" fmla="*/ 0 w 3583247"/>
              <a:gd name="connsiteY5" fmla="*/ 2736231 h 3139345"/>
              <a:gd name="connsiteX0" fmla="*/ 0 w 3583247"/>
              <a:gd name="connsiteY0" fmla="*/ 2736231 h 2740388"/>
              <a:gd name="connsiteX1" fmla="*/ 9467 w 3583247"/>
              <a:gd name="connsiteY1" fmla="*/ 1021080 h 2740388"/>
              <a:gd name="connsiteX2" fmla="*/ 3583247 w 3583247"/>
              <a:gd name="connsiteY2" fmla="*/ 0 h 2740388"/>
              <a:gd name="connsiteX3" fmla="*/ 3557394 w 3583247"/>
              <a:gd name="connsiteY3" fmla="*/ 2738082 h 2740388"/>
              <a:gd name="connsiteX4" fmla="*/ 1448410 w 3583247"/>
              <a:gd name="connsiteY4" fmla="*/ 2740388 h 2740388"/>
              <a:gd name="connsiteX5" fmla="*/ 0 w 3583247"/>
              <a:gd name="connsiteY5" fmla="*/ 2736231 h 2740388"/>
              <a:gd name="connsiteX0" fmla="*/ 0 w 3583247"/>
              <a:gd name="connsiteY0" fmla="*/ 2736231 h 2745604"/>
              <a:gd name="connsiteX1" fmla="*/ 9467 w 3583247"/>
              <a:gd name="connsiteY1" fmla="*/ 1021080 h 2745604"/>
              <a:gd name="connsiteX2" fmla="*/ 3583247 w 3583247"/>
              <a:gd name="connsiteY2" fmla="*/ 0 h 2745604"/>
              <a:gd name="connsiteX3" fmla="*/ 3579960 w 3583247"/>
              <a:gd name="connsiteY3" fmla="*/ 2745604 h 2745604"/>
              <a:gd name="connsiteX4" fmla="*/ 1448410 w 3583247"/>
              <a:gd name="connsiteY4" fmla="*/ 2740388 h 2745604"/>
              <a:gd name="connsiteX5" fmla="*/ 0 w 3583247"/>
              <a:gd name="connsiteY5" fmla="*/ 2736231 h 27456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2745604">
                <a:moveTo>
                  <a:pt x="0" y="2736231"/>
                </a:moveTo>
                <a:cubicBezTo>
                  <a:pt x="3156" y="2033106"/>
                  <a:pt x="6311" y="1724205"/>
                  <a:pt x="9467" y="1021080"/>
                </a:cubicBezTo>
                <a:lnTo>
                  <a:pt x="3583247" y="0"/>
                </a:lnTo>
                <a:cubicBezTo>
                  <a:pt x="3582151" y="915201"/>
                  <a:pt x="3581056" y="1830403"/>
                  <a:pt x="3579960" y="2745604"/>
                </a:cubicBezTo>
                <a:lnTo>
                  <a:pt x="1448410" y="2740388"/>
                </a:lnTo>
                <a:lnTo>
                  <a:pt x="0" y="273623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5" name="Forma libre 7">
            <a:extLst>
              <a:ext uri="{FF2B5EF4-FFF2-40B4-BE49-F238E27FC236}">
                <a16:creationId xmlns:a16="http://schemas.microsoft.com/office/drawing/2014/main" id="{E5E6657F-F9B4-BE44-B712-2F7E420AED7B}"/>
              </a:ext>
            </a:extLst>
          </p:cNvPr>
          <p:cNvSpPr/>
          <p:nvPr userDrawn="1"/>
        </p:nvSpPr>
        <p:spPr>
          <a:xfrm>
            <a:off x="-69215" y="15012"/>
            <a:ext cx="6194595" cy="5227894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  <a:gd name="connsiteX0" fmla="*/ 15240 w 3589020"/>
              <a:gd name="connsiteY0" fmla="*/ 3040516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3106210 h 5151120"/>
              <a:gd name="connsiteX4" fmla="*/ 0 w 3589020"/>
              <a:gd name="connsiteY4" fmla="*/ 5151120 h 5151120"/>
              <a:gd name="connsiteX5" fmla="*/ 15240 w 3589020"/>
              <a:gd name="connsiteY5" fmla="*/ 3040516 h 5151120"/>
              <a:gd name="connsiteX0" fmla="*/ 0 w 3573780"/>
              <a:gd name="connsiteY0" fmla="*/ 3040516 h 3106210"/>
              <a:gd name="connsiteX1" fmla="*/ 0 w 3573780"/>
              <a:gd name="connsiteY1" fmla="*/ 1021080 h 3106210"/>
              <a:gd name="connsiteX2" fmla="*/ 3573780 w 3573780"/>
              <a:gd name="connsiteY2" fmla="*/ 0 h 3106210"/>
              <a:gd name="connsiteX3" fmla="*/ 3573780 w 3573780"/>
              <a:gd name="connsiteY3" fmla="*/ 3106210 h 3106210"/>
              <a:gd name="connsiteX4" fmla="*/ 955145 w 3573780"/>
              <a:gd name="connsiteY4" fmla="*/ 3068341 h 3106210"/>
              <a:gd name="connsiteX5" fmla="*/ 0 w 3573780"/>
              <a:gd name="connsiteY5" fmla="*/ 3040516 h 3106210"/>
              <a:gd name="connsiteX0" fmla="*/ 0 w 3583247"/>
              <a:gd name="connsiteY0" fmla="*/ 3130454 h 3130454"/>
              <a:gd name="connsiteX1" fmla="*/ 9467 w 3583247"/>
              <a:gd name="connsiteY1" fmla="*/ 1021080 h 3130454"/>
              <a:gd name="connsiteX2" fmla="*/ 3583247 w 3583247"/>
              <a:gd name="connsiteY2" fmla="*/ 0 h 3130454"/>
              <a:gd name="connsiteX3" fmla="*/ 3583247 w 3583247"/>
              <a:gd name="connsiteY3" fmla="*/ 3106210 h 3130454"/>
              <a:gd name="connsiteX4" fmla="*/ 964612 w 3583247"/>
              <a:gd name="connsiteY4" fmla="*/ 3068341 h 3130454"/>
              <a:gd name="connsiteX5" fmla="*/ 0 w 3583247"/>
              <a:gd name="connsiteY5" fmla="*/ 3130454 h 3130454"/>
              <a:gd name="connsiteX0" fmla="*/ 0 w 3583247"/>
              <a:gd name="connsiteY0" fmla="*/ 3130454 h 3134611"/>
              <a:gd name="connsiteX1" fmla="*/ 9467 w 3583247"/>
              <a:gd name="connsiteY1" fmla="*/ 1021080 h 3134611"/>
              <a:gd name="connsiteX2" fmla="*/ 3583247 w 3583247"/>
              <a:gd name="connsiteY2" fmla="*/ 0 h 3134611"/>
              <a:gd name="connsiteX3" fmla="*/ 3583247 w 3583247"/>
              <a:gd name="connsiteY3" fmla="*/ 3106210 h 3134611"/>
              <a:gd name="connsiteX4" fmla="*/ 1011948 w 3583247"/>
              <a:gd name="connsiteY4" fmla="*/ 3134611 h 3134611"/>
              <a:gd name="connsiteX5" fmla="*/ 0 w 3583247"/>
              <a:gd name="connsiteY5" fmla="*/ 3130454 h 3134611"/>
              <a:gd name="connsiteX0" fmla="*/ 0 w 3583247"/>
              <a:gd name="connsiteY0" fmla="*/ 3130454 h 3139345"/>
              <a:gd name="connsiteX1" fmla="*/ 9467 w 3583247"/>
              <a:gd name="connsiteY1" fmla="*/ 1021080 h 3139345"/>
              <a:gd name="connsiteX2" fmla="*/ 3583247 w 3583247"/>
              <a:gd name="connsiteY2" fmla="*/ 0 h 3139345"/>
              <a:gd name="connsiteX3" fmla="*/ 3578513 w 3583247"/>
              <a:gd name="connsiteY3" fmla="*/ 3139345 h 3139345"/>
              <a:gd name="connsiteX4" fmla="*/ 1011948 w 3583247"/>
              <a:gd name="connsiteY4" fmla="*/ 3134611 h 3139345"/>
              <a:gd name="connsiteX5" fmla="*/ 0 w 3583247"/>
              <a:gd name="connsiteY5" fmla="*/ 3130454 h 31393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3247" h="3139345">
                <a:moveTo>
                  <a:pt x="0" y="3130454"/>
                </a:moveTo>
                <a:cubicBezTo>
                  <a:pt x="3156" y="2427329"/>
                  <a:pt x="6311" y="1724205"/>
                  <a:pt x="9467" y="1021080"/>
                </a:cubicBezTo>
                <a:lnTo>
                  <a:pt x="3583247" y="0"/>
                </a:lnTo>
                <a:lnTo>
                  <a:pt x="3578513" y="3139345"/>
                </a:lnTo>
                <a:lnTo>
                  <a:pt x="1011948" y="3134611"/>
                </a:lnTo>
                <a:lnTo>
                  <a:pt x="0" y="31304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sp>
        <p:nvSpPr>
          <p:cNvPr id="16" name="Marcador de texto 2">
            <a:extLst>
              <a:ext uri="{FF2B5EF4-FFF2-40B4-BE49-F238E27FC236}">
                <a16:creationId xmlns:a16="http://schemas.microsoft.com/office/drawing/2014/main" id="{37C93604-FA91-1144-A927-66129C86C6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2000" y="1833563"/>
            <a:ext cx="2663825" cy="26828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600"/>
              </a:spcBef>
              <a:buNone/>
              <a:defRPr sz="1400"/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s-ES" dirty="0"/>
              <a:t>Capítulo</a:t>
            </a:r>
          </a:p>
          <a:p>
            <a:pPr lvl="0"/>
            <a:endParaRPr lang="es-ES" dirty="0"/>
          </a:p>
          <a:p>
            <a:pPr lvl="0"/>
            <a:endParaRPr lang="es-ES" dirty="0"/>
          </a:p>
        </p:txBody>
      </p:sp>
      <p:sp>
        <p:nvSpPr>
          <p:cNvPr id="17" name="Título 6">
            <a:extLst>
              <a:ext uri="{FF2B5EF4-FFF2-40B4-BE49-F238E27FC236}">
                <a16:creationId xmlns:a16="http://schemas.microsoft.com/office/drawing/2014/main" id="{2386767C-0FC6-0749-AF54-4D73864E35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484187"/>
            <a:ext cx="8263350" cy="647701"/>
          </a:xfrm>
          <a:prstGeom prst="rect">
            <a:avLst/>
          </a:prstGeom>
        </p:spPr>
        <p:txBody>
          <a:bodyPr lIns="0" tIns="0" rIns="0" bIns="0"/>
          <a:lstStyle>
            <a:lvl1pPr>
              <a:defRPr sz="2100"/>
            </a:lvl1pPr>
          </a:lstStyle>
          <a:p>
            <a:r>
              <a:rPr lang="es-ES" dirty="0"/>
              <a:t>Índice</a:t>
            </a:r>
          </a:p>
        </p:txBody>
      </p:sp>
      <p:pic>
        <p:nvPicPr>
          <p:cNvPr id="10" name="Imagen 12">
            <a:extLst>
              <a:ext uri="{FF2B5EF4-FFF2-40B4-BE49-F238E27FC236}">
                <a16:creationId xmlns:a16="http://schemas.microsoft.com/office/drawing/2014/main" id="{A88FDD39-CECF-5E4A-8EF5-7F54CE3C43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52000" y="4889640"/>
            <a:ext cx="1223656" cy="18590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parata n1. Ver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rma libre 4">
            <a:extLst>
              <a:ext uri="{FF2B5EF4-FFF2-40B4-BE49-F238E27FC236}">
                <a16:creationId xmlns:a16="http://schemas.microsoft.com/office/drawing/2014/main" id="{93EB5CC0-893F-7E43-ABEC-FF257A4D7B5E}"/>
              </a:ext>
            </a:extLst>
          </p:cNvPr>
          <p:cNvSpPr/>
          <p:nvPr userDrawn="1"/>
        </p:nvSpPr>
        <p:spPr>
          <a:xfrm>
            <a:off x="5593080" y="30480"/>
            <a:ext cx="3589020" cy="5151120"/>
          </a:xfrm>
          <a:custGeom>
            <a:avLst/>
            <a:gdLst>
              <a:gd name="connsiteX0" fmla="*/ 15240 w 3589020"/>
              <a:gd name="connsiteY0" fmla="*/ 5090160 h 5151120"/>
              <a:gd name="connsiteX1" fmla="*/ 15240 w 3589020"/>
              <a:gd name="connsiteY1" fmla="*/ 1021080 h 5151120"/>
              <a:gd name="connsiteX2" fmla="*/ 3589020 w 3589020"/>
              <a:gd name="connsiteY2" fmla="*/ 0 h 5151120"/>
              <a:gd name="connsiteX3" fmla="*/ 3589020 w 3589020"/>
              <a:gd name="connsiteY3" fmla="*/ 5151120 h 5151120"/>
              <a:gd name="connsiteX4" fmla="*/ 0 w 3589020"/>
              <a:gd name="connsiteY4" fmla="*/ 5151120 h 5151120"/>
              <a:gd name="connsiteX5" fmla="*/ 15240 w 3589020"/>
              <a:gd name="connsiteY5" fmla="*/ 5090160 h 515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89020" h="5151120">
                <a:moveTo>
                  <a:pt x="15240" y="5090160"/>
                </a:moveTo>
                <a:lnTo>
                  <a:pt x="15240" y="1021080"/>
                </a:lnTo>
                <a:lnTo>
                  <a:pt x="3589020" y="0"/>
                </a:lnTo>
                <a:lnTo>
                  <a:pt x="3589020" y="5151120"/>
                </a:lnTo>
                <a:lnTo>
                  <a:pt x="0" y="5151120"/>
                </a:lnTo>
                <a:lnTo>
                  <a:pt x="15240" y="5090160"/>
                </a:lnTo>
                <a:close/>
              </a:path>
            </a:pathLst>
          </a:custGeom>
          <a:solidFill>
            <a:srgbClr val="639F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contenido 10">
            <a:extLst>
              <a:ext uri="{FF2B5EF4-FFF2-40B4-BE49-F238E27FC236}">
                <a16:creationId xmlns:a16="http://schemas.microsoft.com/office/drawing/2014/main" id="{B06D5AB3-85F3-6041-8CF2-938E10DAFE6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252000" y="2828006"/>
            <a:ext cx="4238624" cy="86007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s-ES" sz="1400" dirty="0"/>
            </a:lvl1pPr>
          </a:lstStyle>
          <a:p>
            <a:pPr marL="0" lv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s-ES" dirty="0"/>
              <a:t>Editar el subtitulo 
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000" y="1194688"/>
            <a:ext cx="5289455" cy="123625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título separata de nivel 1</a:t>
            </a:r>
            <a:endParaRPr lang="en-US" dirty="0"/>
          </a:p>
        </p:txBody>
      </p:sp>
      <p:sp>
        <p:nvSpPr>
          <p:cNvPr id="14" name="Marcador de contenido 2">
            <a:extLst>
              <a:ext uri="{FF2B5EF4-FFF2-40B4-BE49-F238E27FC236}">
                <a16:creationId xmlns:a16="http://schemas.microsoft.com/office/drawing/2014/main" id="{916D4C14-6CFE-7A40-86A8-480510420770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061075" y="1127427"/>
            <a:ext cx="2800985" cy="151637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2000">
                <a:solidFill>
                  <a:schemeClr val="bg1"/>
                </a:solidFill>
                <a:latin typeface="Playfair Display" pitchFamily="2" charset="77"/>
              </a:defRPr>
            </a:lvl1pPr>
          </a:lstStyle>
          <a:p>
            <a:r>
              <a:rPr lang="es-ES" dirty="0"/>
              <a:t>Nº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bg1"/>
                </a:solidFill>
              </a:rPr>
              <a:pPr algn="r"/>
              <a:t>‹Nº›</a:t>
            </a:fld>
            <a:endParaRPr lang="es-ES" sz="800" dirty="0">
              <a:solidFill>
                <a:schemeClr val="bg1"/>
              </a:solidFill>
            </a:endParaRPr>
          </a:p>
        </p:txBody>
      </p:sp>
      <p:pic>
        <p:nvPicPr>
          <p:cNvPr id="12" name="Imagen 12">
            <a:extLst>
              <a:ext uri="{FF2B5EF4-FFF2-40B4-BE49-F238E27FC236}">
                <a16:creationId xmlns:a16="http://schemas.microsoft.com/office/drawing/2014/main" id="{9C24B842-0E55-6D40-B823-750AA9954A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52000" y="4889640"/>
            <a:ext cx="1223656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86697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252000" y="484187"/>
            <a:ext cx="8263350" cy="647701"/>
          </a:xfrm>
          <a:prstGeom prst="rect">
            <a:avLst/>
          </a:prstGeom>
        </p:spPr>
        <p:txBody>
          <a:bodyPr lIns="0" tIns="0" rIns="0" bIns="0"/>
          <a:lstStyle>
            <a:lvl1pPr>
              <a:defRPr sz="2100"/>
            </a:lvl1pPr>
          </a:lstStyle>
          <a:p>
            <a:r>
              <a:rPr lang="es-ES" dirty="0"/>
              <a:t>Índice</a:t>
            </a:r>
          </a:p>
        </p:txBody>
      </p:sp>
    </p:spTree>
    <p:extLst>
      <p:ext uri="{BB962C8B-B14F-4D97-AF65-F5344CB8AC3E}">
        <p14:creationId xmlns:p14="http://schemas.microsoft.com/office/powerpoint/2010/main" val="197653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dea Prinicpal_Gris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EA230A8-2396-C04E-BA7D-6A765043E11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750" y="544044"/>
            <a:ext cx="7106825" cy="395237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s-ES" dirty="0"/>
              <a:t>Haga clic para un texto destacado o una idea principa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10F3A02-B7CA-9E42-855B-3F51A0093AEE}"/>
              </a:ext>
            </a:extLst>
          </p:cNvPr>
          <p:cNvSpPr txBox="1">
            <a:spLocks/>
          </p:cNvSpPr>
          <p:nvPr userDrawn="1"/>
        </p:nvSpPr>
        <p:spPr>
          <a:xfrm>
            <a:off x="8604448" y="4876006"/>
            <a:ext cx="287140" cy="2427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s-ES"/>
            </a:defPPr>
            <a:lvl1pPr marL="0" algn="l" defTabSz="685800" rtl="0" eaLnBrk="1" latinLnBrk="0" hangingPunct="1">
              <a:defRPr sz="800" kern="1200">
                <a:solidFill>
                  <a:schemeClr val="bg1"/>
                </a:solidFill>
                <a:latin typeface="Soho Gothic Pro" panose="020B0503030504020204" pitchFamily="34" charset="77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A5078871-D93F-4D40-B540-DC74CFDF655C}" type="slidenum">
              <a:rPr lang="es-ES" sz="800" smtClean="0">
                <a:solidFill>
                  <a:schemeClr val="tx1"/>
                </a:solidFill>
              </a:rPr>
              <a:pPr algn="r"/>
              <a:t>‹Nº›</a:t>
            </a:fld>
            <a:endParaRPr lang="es-ES" sz="800" dirty="0">
              <a:solidFill>
                <a:schemeClr val="tx1"/>
              </a:solidFill>
            </a:endParaRPr>
          </a:p>
        </p:txBody>
      </p:sp>
      <p:pic>
        <p:nvPicPr>
          <p:cNvPr id="5" name="Imagen 4"/>
          <p:cNvPicPr>
            <a:picLocks noChangeAspect="1"/>
          </p:cNvPicPr>
          <p:nvPr userDrawn="1"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52000" y="4889640"/>
            <a:ext cx="1223656" cy="1859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2218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86787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84" r:id="rId4"/>
    <p:sldLayoutId id="2147483786" r:id="rId5"/>
    <p:sldLayoutId id="2147483796" r:id="rId6"/>
    <p:sldLayoutId id="2147483794" r:id="rId7"/>
    <p:sldLayoutId id="2147483773" r:id="rId8"/>
    <p:sldLayoutId id="2147483746" r:id="rId9"/>
    <p:sldLayoutId id="2147483760" r:id="rId10"/>
    <p:sldLayoutId id="2147483761" r:id="rId11"/>
    <p:sldLayoutId id="2147483792" r:id="rId12"/>
    <p:sldLayoutId id="2147483701" r:id="rId13"/>
    <p:sldLayoutId id="2147483797" r:id="rId14"/>
    <p:sldLayoutId id="2147483795" r:id="rId15"/>
    <p:sldLayoutId id="2147483798" r:id="rId16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Playfair Display" pitchFamily="2" charset="77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500" b="0" i="0" kern="1200">
          <a:solidFill>
            <a:schemeClr val="tx1"/>
          </a:solidFill>
          <a:latin typeface="Soho Gothic Pro Light" panose="020B0303030504020204" pitchFamily="34" charset="77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169" userDrawn="1">
          <p15:clr>
            <a:srgbClr val="F26B43"/>
          </p15:clr>
        </p15:guide>
        <p15:guide id="4" orient="horz" pos="3072" userDrawn="1">
          <p15:clr>
            <a:srgbClr val="F26B43"/>
          </p15:clr>
        </p15:guide>
        <p15:guide id="6" pos="2880" userDrawn="1">
          <p15:clr>
            <a:srgbClr val="F26B43"/>
          </p15:clr>
        </p15:guide>
        <p15:guide id="10" pos="5601" userDrawn="1">
          <p15:clr>
            <a:srgbClr val="F26B43"/>
          </p15:clr>
        </p15:guide>
        <p15:guide id="15" pos="159" userDrawn="1">
          <p15:clr>
            <a:srgbClr val="F26B43"/>
          </p15:clr>
        </p15:guide>
        <p15:guide id="17" orient="horz" pos="57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 8">
            <a:extLst>
              <a:ext uri="{FF2B5EF4-FFF2-40B4-BE49-F238E27FC236}">
                <a16:creationId xmlns:a16="http://schemas.microsoft.com/office/drawing/2014/main" id="{F18D8268-BE75-4B3A-9D78-C7CA2ECD53D3}"/>
              </a:ext>
            </a:extLst>
          </p:cNvPr>
          <p:cNvSpPr/>
          <p:nvPr/>
        </p:nvSpPr>
        <p:spPr>
          <a:xfrm>
            <a:off x="-1214" y="0"/>
            <a:ext cx="5293294" cy="4921643"/>
          </a:xfrm>
          <a:custGeom>
            <a:avLst/>
            <a:gdLst>
              <a:gd name="connsiteX0" fmla="*/ 0 w 5652119"/>
              <a:gd name="connsiteY0" fmla="*/ 0 h 4740773"/>
              <a:gd name="connsiteX1" fmla="*/ 5652119 w 5652119"/>
              <a:gd name="connsiteY1" fmla="*/ 0 h 4740773"/>
              <a:gd name="connsiteX2" fmla="*/ 5652119 w 5652119"/>
              <a:gd name="connsiteY2" fmla="*/ 4740773 h 4740773"/>
              <a:gd name="connsiteX3" fmla="*/ 0 w 5652119"/>
              <a:gd name="connsiteY3" fmla="*/ 4740773 h 4740773"/>
              <a:gd name="connsiteX4" fmla="*/ 0 w 5652119"/>
              <a:gd name="connsiteY4" fmla="*/ 0 h 4740773"/>
              <a:gd name="connsiteX0" fmla="*/ 0 w 5662168"/>
              <a:gd name="connsiteY0" fmla="*/ 0 h 4740773"/>
              <a:gd name="connsiteX1" fmla="*/ 5652119 w 5662168"/>
              <a:gd name="connsiteY1" fmla="*/ 0 h 4740773"/>
              <a:gd name="connsiteX2" fmla="*/ 5662168 w 5662168"/>
              <a:gd name="connsiteY2" fmla="*/ 3916808 h 4740773"/>
              <a:gd name="connsiteX3" fmla="*/ 0 w 5662168"/>
              <a:gd name="connsiteY3" fmla="*/ 4740773 h 4740773"/>
              <a:gd name="connsiteX4" fmla="*/ 0 w 5662168"/>
              <a:gd name="connsiteY4" fmla="*/ 0 h 4740773"/>
              <a:gd name="connsiteX0" fmla="*/ 0 w 5662168"/>
              <a:gd name="connsiteY0" fmla="*/ 0 h 5132659"/>
              <a:gd name="connsiteX1" fmla="*/ 5652119 w 5662168"/>
              <a:gd name="connsiteY1" fmla="*/ 0 h 5132659"/>
              <a:gd name="connsiteX2" fmla="*/ 5662168 w 5662168"/>
              <a:gd name="connsiteY2" fmla="*/ 3916808 h 5132659"/>
              <a:gd name="connsiteX3" fmla="*/ 10049 w 5662168"/>
              <a:gd name="connsiteY3" fmla="*/ 5132659 h 5132659"/>
              <a:gd name="connsiteX4" fmla="*/ 0 w 5662168"/>
              <a:gd name="connsiteY4" fmla="*/ 0 h 5132659"/>
              <a:gd name="connsiteX0" fmla="*/ 1254 w 5663422"/>
              <a:gd name="connsiteY0" fmla="*/ 0 h 5022127"/>
              <a:gd name="connsiteX1" fmla="*/ 5653373 w 5663422"/>
              <a:gd name="connsiteY1" fmla="*/ 0 h 5022127"/>
              <a:gd name="connsiteX2" fmla="*/ 5663422 w 5663422"/>
              <a:gd name="connsiteY2" fmla="*/ 3916808 h 5022127"/>
              <a:gd name="connsiteX3" fmla="*/ 931 w 5663422"/>
              <a:gd name="connsiteY3" fmla="*/ 5022127 h 5022127"/>
              <a:gd name="connsiteX4" fmla="*/ 1254 w 5663422"/>
              <a:gd name="connsiteY4" fmla="*/ 0 h 5022127"/>
              <a:gd name="connsiteX0" fmla="*/ 0 w 5662168"/>
              <a:gd name="connsiteY0" fmla="*/ 0 h 4851305"/>
              <a:gd name="connsiteX1" fmla="*/ 5652119 w 5662168"/>
              <a:gd name="connsiteY1" fmla="*/ 0 h 4851305"/>
              <a:gd name="connsiteX2" fmla="*/ 5662168 w 5662168"/>
              <a:gd name="connsiteY2" fmla="*/ 3916808 h 4851305"/>
              <a:gd name="connsiteX3" fmla="*/ 20420 w 5662168"/>
              <a:gd name="connsiteY3" fmla="*/ 4851305 h 4851305"/>
              <a:gd name="connsiteX4" fmla="*/ 0 w 5662168"/>
              <a:gd name="connsiteY4" fmla="*/ 0 h 4851305"/>
              <a:gd name="connsiteX0" fmla="*/ 1254 w 5663422"/>
              <a:gd name="connsiteY0" fmla="*/ 0 h 4921643"/>
              <a:gd name="connsiteX1" fmla="*/ 5653373 w 5663422"/>
              <a:gd name="connsiteY1" fmla="*/ 0 h 4921643"/>
              <a:gd name="connsiteX2" fmla="*/ 5663422 w 5663422"/>
              <a:gd name="connsiteY2" fmla="*/ 3916808 h 4921643"/>
              <a:gd name="connsiteX3" fmla="*/ 931 w 5663422"/>
              <a:gd name="connsiteY3" fmla="*/ 4921643 h 4921643"/>
              <a:gd name="connsiteX4" fmla="*/ 1254 w 5663422"/>
              <a:gd name="connsiteY4" fmla="*/ 0 h 4921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663422" h="4921643">
                <a:moveTo>
                  <a:pt x="1254" y="0"/>
                </a:moveTo>
                <a:lnTo>
                  <a:pt x="5653373" y="0"/>
                </a:lnTo>
                <a:cubicBezTo>
                  <a:pt x="5656723" y="1305603"/>
                  <a:pt x="5660072" y="2611205"/>
                  <a:pt x="5663422" y="3916808"/>
                </a:cubicBezTo>
                <a:lnTo>
                  <a:pt x="931" y="4921643"/>
                </a:lnTo>
                <a:cubicBezTo>
                  <a:pt x="-2419" y="3210757"/>
                  <a:pt x="4604" y="1710886"/>
                  <a:pt x="1254" y="0"/>
                </a:cubicBezTo>
                <a:close/>
              </a:path>
            </a:pathLst>
          </a:custGeom>
          <a:solidFill>
            <a:srgbClr val="EEF7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28C93D5-5391-3C48-8361-00ED780F38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520" y="442083"/>
            <a:ext cx="4896544" cy="689507"/>
          </a:xfr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>
              <a:lnSpc>
                <a:spcPct val="100000"/>
              </a:lnSpc>
              <a:buClr>
                <a:srgbClr val="000000"/>
              </a:buClr>
              <a:buFont typeface="Arial"/>
            </a:pPr>
            <a:r>
              <a:rPr lang="es-CO" dirty="0">
                <a:solidFill>
                  <a:srgbClr val="1A3B47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Predicciones </a:t>
            </a:r>
            <a:r>
              <a:rPr lang="es-CO" dirty="0" err="1">
                <a:solidFill>
                  <a:srgbClr val="1A3B47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Ciber</a:t>
            </a:r>
            <a:r>
              <a:rPr lang="es-CO" dirty="0">
                <a:solidFill>
                  <a:srgbClr val="1A3B47"/>
                </a:solidFill>
                <a:latin typeface="Georgia" panose="02040502050405020303" pitchFamily="18" charset="0"/>
                <a:ea typeface="Arial"/>
                <a:cs typeface="Arial"/>
                <a:sym typeface="Arial"/>
              </a:rPr>
              <a:t> ataques 2020 – Riesgo digital con mayor reconocimiento</a:t>
            </a:r>
          </a:p>
        </p:txBody>
      </p:sp>
      <p:sp>
        <p:nvSpPr>
          <p:cNvPr id="23" name="Rectángulo 22"/>
          <p:cNvSpPr/>
          <p:nvPr/>
        </p:nvSpPr>
        <p:spPr>
          <a:xfrm>
            <a:off x="11113677" y="3812667"/>
            <a:ext cx="184731" cy="2399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s-CO" sz="959" dirty="0"/>
          </a:p>
        </p:txBody>
      </p:sp>
      <p:sp>
        <p:nvSpPr>
          <p:cNvPr id="27" name="CuadroTexto 26"/>
          <p:cNvSpPr txBox="1"/>
          <p:nvPr/>
        </p:nvSpPr>
        <p:spPr>
          <a:xfrm>
            <a:off x="6714381" y="2865776"/>
            <a:ext cx="914400" cy="914400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rtlCol="0" anchor="t">
            <a:noAutofit/>
          </a:bodyPr>
          <a:lstStyle/>
          <a:p>
            <a:pPr algn="just" defTabSz="914400"/>
            <a:endParaRPr lang="es-ES_tradnl" sz="1800" dirty="0">
              <a:solidFill>
                <a:srgbClr val="3D3935"/>
              </a:solidFill>
              <a:latin typeface="Arial"/>
            </a:endParaRPr>
          </a:p>
        </p:txBody>
      </p:sp>
      <p:sp>
        <p:nvSpPr>
          <p:cNvPr id="48" name="Google Shape;391;p2">
            <a:extLst>
              <a:ext uri="{FF2B5EF4-FFF2-40B4-BE49-F238E27FC236}">
                <a16:creationId xmlns:a16="http://schemas.microsoft.com/office/drawing/2014/main" id="{2019D6AE-96E3-FD45-82E6-A9B478559C92}"/>
              </a:ext>
            </a:extLst>
          </p:cNvPr>
          <p:cNvSpPr txBox="1"/>
          <p:nvPr/>
        </p:nvSpPr>
        <p:spPr>
          <a:xfrm>
            <a:off x="5506145" y="4067253"/>
            <a:ext cx="3314328" cy="267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 b="1" dirty="0"/>
              <a:t>Fuente: </a:t>
            </a:r>
            <a:r>
              <a:rPr lang="en-US" sz="1100" dirty="0"/>
              <a:t>World Economic Forum 2019. 14</a:t>
            </a:r>
            <a:r>
              <a:rPr lang="en-US" sz="1100" baseline="30000" dirty="0"/>
              <a:t>th</a:t>
            </a:r>
            <a:r>
              <a:rPr lang="en-US" sz="1100" dirty="0"/>
              <a:t> Edition   </a:t>
            </a:r>
            <a:endParaRPr sz="1100" i="0" u="none" strike="noStrike" cap="none" dirty="0"/>
          </a:p>
          <a:p>
            <a:pPr marL="285750" marR="0" lvl="0" indent="-171450" algn="just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 dirty="0"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5358" y="1344991"/>
            <a:ext cx="4554543" cy="2361776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51" name="CuadroTexto 50"/>
          <p:cNvSpPr txBox="1"/>
          <p:nvPr/>
        </p:nvSpPr>
        <p:spPr>
          <a:xfrm>
            <a:off x="5524728" y="195486"/>
            <a:ext cx="3277162" cy="398570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ES_tradnl" altLang="zh-CN" sz="1100" kern="0" dirty="0">
                <a:solidFill>
                  <a:srgbClr val="1A3B47"/>
                </a:solidFill>
                <a:latin typeface="Arial"/>
              </a:rPr>
              <a:t>Estafas por correo electrónico y SM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ES_tradnl" altLang="zh-CN" sz="1100" kern="0" dirty="0">
              <a:solidFill>
                <a:srgbClr val="1A3B47"/>
              </a:solidFill>
              <a:latin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_tradnl" sz="1100" kern="0" dirty="0">
                <a:solidFill>
                  <a:srgbClr val="1A3B47"/>
                </a:solidFill>
                <a:latin typeface="Arial"/>
              </a:rPr>
              <a:t>Cibercrimen como alternativa de sostenimiento económico por su alto lucro. Crimen Saa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ES_tradnl" sz="1100" kern="0" dirty="0">
              <a:solidFill>
                <a:srgbClr val="1A3B47"/>
              </a:solidFill>
              <a:latin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_tradnl" altLang="zh-CN" sz="1100" kern="0" dirty="0">
                <a:solidFill>
                  <a:srgbClr val="1A3B47"/>
                </a:solidFill>
                <a:latin typeface="Arial"/>
              </a:rPr>
              <a:t>Cibercrimen - Impacto en todas las verticales económicas y en individuos.</a:t>
            </a:r>
            <a:endParaRPr lang="es-CO" sz="1100" dirty="0">
              <a:solidFill>
                <a:srgbClr val="1A3B47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ES_tradnl" sz="1100" kern="0" dirty="0">
              <a:solidFill>
                <a:srgbClr val="1A3B47"/>
              </a:solidFill>
              <a:latin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_tradnl" altLang="zh-CN" sz="1100" kern="0" dirty="0">
                <a:solidFill>
                  <a:srgbClr val="1A3B47"/>
                </a:solidFill>
                <a:latin typeface="Arial"/>
              </a:rPr>
              <a:t>Falsas campañas de recolección de fondos. - </a:t>
            </a:r>
            <a:r>
              <a:rPr lang="es-ES_tradnl" altLang="zh-CN" sz="1100" i="1" kern="0" dirty="0" err="1">
                <a:solidFill>
                  <a:srgbClr val="1A3B47"/>
                </a:solidFill>
                <a:latin typeface="Arial"/>
              </a:rPr>
              <a:t>Fake</a:t>
            </a:r>
            <a:r>
              <a:rPr lang="es-ES_tradnl" altLang="zh-CN" sz="1100" i="1" kern="0" dirty="0">
                <a:solidFill>
                  <a:srgbClr val="1A3B47"/>
                </a:solidFill>
                <a:latin typeface="Arial"/>
              </a:rPr>
              <a:t> crowdfund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ES_tradnl" sz="1100" kern="0" dirty="0">
              <a:solidFill>
                <a:srgbClr val="1A3B47"/>
              </a:solidFill>
              <a:latin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_tradnl" altLang="zh-CN" sz="1100" kern="0" dirty="0">
                <a:solidFill>
                  <a:srgbClr val="1A3B47"/>
                </a:solidFill>
                <a:latin typeface="Arial"/>
              </a:rPr>
              <a:t>Aumento de espionaje por acceso a micrófonos y cámaras de equipos remotos.</a:t>
            </a:r>
            <a:br>
              <a:rPr lang="es-ES_tradnl" altLang="zh-CN" sz="1100" kern="0" dirty="0">
                <a:solidFill>
                  <a:srgbClr val="1A3B47"/>
                </a:solidFill>
                <a:latin typeface="Arial"/>
              </a:rPr>
            </a:br>
            <a:endParaRPr lang="es-ES_tradnl" altLang="zh-CN" sz="1100" kern="0" dirty="0">
              <a:solidFill>
                <a:srgbClr val="1A3B47"/>
              </a:solidFill>
              <a:latin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_tradnl" altLang="zh-CN" sz="1100" kern="0" dirty="0">
                <a:solidFill>
                  <a:srgbClr val="1A3B47"/>
                </a:solidFill>
                <a:latin typeface="Arial"/>
              </a:rPr>
              <a:t>Aumento de fraude bancario por ingeniería social. Mayor información personal en redes sociales.</a:t>
            </a:r>
            <a:br>
              <a:rPr lang="es-ES_tradnl" altLang="zh-CN" sz="1100" kern="0" dirty="0">
                <a:solidFill>
                  <a:srgbClr val="1A3B47"/>
                </a:solidFill>
                <a:latin typeface="Arial"/>
              </a:rPr>
            </a:br>
            <a:endParaRPr lang="es-ES_tradnl" altLang="zh-CN" sz="1100" kern="0" dirty="0">
              <a:solidFill>
                <a:srgbClr val="1A3B47"/>
              </a:solidFill>
              <a:latin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ES_tradnl" altLang="zh-CN" sz="1100" kern="0" dirty="0">
                <a:solidFill>
                  <a:srgbClr val="1A3B47"/>
                </a:solidFill>
                <a:latin typeface="Arial"/>
              </a:rPr>
              <a:t>Aumento en Extorsión digital por infiltración en los equipos remotos. </a:t>
            </a:r>
            <a:r>
              <a:rPr lang="es-ES_tradnl" altLang="zh-CN" sz="1100" i="1" kern="0" dirty="0" err="1">
                <a:solidFill>
                  <a:srgbClr val="1A3B47"/>
                </a:solidFill>
                <a:latin typeface="Arial"/>
              </a:rPr>
              <a:t>Ransomware</a:t>
            </a:r>
            <a:r>
              <a:rPr lang="es-ES_tradnl" altLang="zh-CN" sz="1100" i="1" kern="0" dirty="0">
                <a:solidFill>
                  <a:srgbClr val="1A3B47"/>
                </a:solidFill>
                <a:latin typeface="Arial"/>
              </a:rPr>
              <a:t>, Sextorsión, grooming</a:t>
            </a:r>
            <a:endParaRPr lang="es-CO" sz="1100" i="1" dirty="0">
              <a:solidFill>
                <a:srgbClr val="1A3B47"/>
              </a:solidFill>
            </a:endParaRPr>
          </a:p>
          <a:p>
            <a:endParaRPr lang="es-CO" sz="1100" dirty="0">
              <a:solidFill>
                <a:srgbClr val="1A3B47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s-CO" sz="1100" i="1" dirty="0">
              <a:solidFill>
                <a:srgbClr val="1A3B47"/>
              </a:solidFill>
            </a:endParaRPr>
          </a:p>
        </p:txBody>
      </p:sp>
      <p:sp>
        <p:nvSpPr>
          <p:cNvPr id="55" name="CuadroTexto 29"/>
          <p:cNvSpPr txBox="1"/>
          <p:nvPr/>
        </p:nvSpPr>
        <p:spPr>
          <a:xfrm>
            <a:off x="5868145" y="1315474"/>
            <a:ext cx="2952328" cy="530627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rtlCol="0" anchor="t">
            <a:noAutofit/>
          </a:bodyPr>
          <a:lstStyle>
            <a:defPPr>
              <a:defRPr lang="es-ES"/>
            </a:defPPr>
            <a:lvl1pPr algn="r">
              <a:defRPr sz="2000">
                <a:latin typeface="Georgia"/>
                <a:cs typeface="Georgia"/>
              </a:defRPr>
            </a:lvl1pPr>
          </a:lstStyle>
          <a:p>
            <a:pPr algn="just"/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7036939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 8">
            <a:extLst>
              <a:ext uri="{FF2B5EF4-FFF2-40B4-BE49-F238E27FC236}">
                <a16:creationId xmlns:a16="http://schemas.microsoft.com/office/drawing/2014/main" id="{3E10B8BA-4186-48EC-9CA9-AD30307FE748}"/>
              </a:ext>
            </a:extLst>
          </p:cNvPr>
          <p:cNvSpPr/>
          <p:nvPr/>
        </p:nvSpPr>
        <p:spPr>
          <a:xfrm>
            <a:off x="0" y="3363838"/>
            <a:ext cx="9144000" cy="14567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8" name="Rectángulo 7">
            <a:extLst>
              <a:ext uri="{FF2B5EF4-FFF2-40B4-BE49-F238E27FC236}">
                <a16:creationId xmlns:a16="http://schemas.microsoft.com/office/drawing/2014/main" id="{C024A8E7-4D23-4037-8837-FBE82A76C1DF}"/>
              </a:ext>
            </a:extLst>
          </p:cNvPr>
          <p:cNvSpPr/>
          <p:nvPr/>
        </p:nvSpPr>
        <p:spPr>
          <a:xfrm>
            <a:off x="0" y="-2038"/>
            <a:ext cx="9144000" cy="9176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21587" y="1050588"/>
            <a:ext cx="4700826" cy="2718456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5" name="CuadroTexto 4"/>
          <p:cNvSpPr txBox="1"/>
          <p:nvPr/>
        </p:nvSpPr>
        <p:spPr>
          <a:xfrm>
            <a:off x="6181020" y="4599007"/>
            <a:ext cx="30168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200" b="0" i="0" u="none" strike="noStrike" kern="1200" cap="none" spc="0" normalizeH="0" baseline="0" noProof="0" dirty="0">
                <a:ln>
                  <a:noFill/>
                </a:ln>
                <a:solidFill>
                  <a:srgbClr val="1A3B47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FSISAC.com:  americanbanker.com </a:t>
            </a:r>
          </a:p>
        </p:txBody>
      </p:sp>
      <p:sp>
        <p:nvSpPr>
          <p:cNvPr id="6" name="Google Shape;398;g7f81e5761f_1_0">
            <a:extLst>
              <a:ext uri="{FF2B5EF4-FFF2-40B4-BE49-F238E27FC236}">
                <a16:creationId xmlns:a16="http://schemas.microsoft.com/office/drawing/2014/main" id="{0BA69617-B04A-444B-95DE-024F6F4E91F1}"/>
              </a:ext>
            </a:extLst>
          </p:cNvPr>
          <p:cNvSpPr txBox="1"/>
          <p:nvPr/>
        </p:nvSpPr>
        <p:spPr>
          <a:xfrm>
            <a:off x="222104" y="271489"/>
            <a:ext cx="8462245" cy="52322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ES"/>
            </a:defPPr>
            <a:lvl1pPr algn="just">
              <a:defRPr sz="1295">
                <a:solidFill>
                  <a:srgbClr val="2D2E3B"/>
                </a:solidFill>
                <a:latin typeface="Roboto"/>
              </a:defRPr>
            </a:lvl1pPr>
          </a:lstStyle>
          <a:p>
            <a:pPr lvl="0">
              <a:defRPr/>
            </a:pPr>
            <a:r>
              <a:rPr lang="es-ES" sz="13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mento inusual en el envió de phishing dirigido. Técnicas frecuentes para la dispersión de Malware y capturar información personal. </a:t>
            </a:r>
            <a:endParaRPr kumimoji="0" lang="es-CO" sz="135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:a16="http://schemas.microsoft.com/office/drawing/2014/main" id="{0D39ED42-6479-4832-8A3D-BB13D000493D}"/>
              </a:ext>
            </a:extLst>
          </p:cNvPr>
          <p:cNvSpPr/>
          <p:nvPr/>
        </p:nvSpPr>
        <p:spPr>
          <a:xfrm>
            <a:off x="323528" y="3904066"/>
            <a:ext cx="8712669" cy="7155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Marzo 1 y Marzo 23 de 2020,  una firma de Antispam de correo electrónico detectó 467,825 ataques de email por </a:t>
            </a:r>
            <a:r>
              <a:rPr lang="es-ES" dirty="0" err="1">
                <a:latin typeface="Arial" panose="020B0604020202020204" pitchFamily="34" charset="0"/>
                <a:cs typeface="Arial" panose="020B0604020202020204" pitchFamily="34" charset="0"/>
              </a:rPr>
              <a:t>spear</a:t>
            </a: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 phishing. 9.116 de esos ataques estuvieron relacionados con COVID-19. En comparación, con febrero con 1.188 y enero con solo 137. </a:t>
            </a:r>
          </a:p>
        </p:txBody>
      </p:sp>
    </p:spTree>
    <p:extLst>
      <p:ext uri="{BB962C8B-B14F-4D97-AF65-F5344CB8AC3E}">
        <p14:creationId xmlns:p14="http://schemas.microsoft.com/office/powerpoint/2010/main" val="5209706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.mMO9hT4a7Xn5vbotN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maDbkwTAO5KchvddzA9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0Q6IcXQ_aH1w25.4Fp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9W4_i3R2eJJcAfNibjfA"/>
</p:tagLst>
</file>

<file path=ppt/theme/theme1.xml><?xml version="1.0" encoding="utf-8"?>
<a:theme xmlns:a="http://schemas.openxmlformats.org/drawingml/2006/main" name="Portadas">
  <a:themeElements>
    <a:clrScheme name="Minsait">
      <a:dk1>
        <a:srgbClr val="1A3B47"/>
      </a:dk1>
      <a:lt1>
        <a:srgbClr val="FFFFFF"/>
      </a:lt1>
      <a:dk2>
        <a:srgbClr val="FDE3D3"/>
      </a:dk2>
      <a:lt2>
        <a:srgbClr val="E7E6E6"/>
      </a:lt2>
      <a:accent1>
        <a:srgbClr val="FFEA80"/>
      </a:accent1>
      <a:accent2>
        <a:srgbClr val="F7AC6F"/>
      </a:accent2>
      <a:accent3>
        <a:srgbClr val="E88AA2"/>
      </a:accent3>
      <a:accent4>
        <a:srgbClr val="79C5B3"/>
      </a:accent4>
      <a:accent5>
        <a:srgbClr val="639FCB"/>
      </a:accent5>
      <a:accent6>
        <a:srgbClr val="7874B3"/>
      </a:accent6>
      <a:hlink>
        <a:srgbClr val="E88AA2"/>
      </a:hlink>
      <a:folHlink>
        <a:srgbClr val="F7AC6F"/>
      </a:folHlink>
    </a:clrScheme>
    <a:fontScheme name="Personalizado 3">
      <a:majorFont>
        <a:latin typeface="Playfair Display"/>
        <a:ea typeface=""/>
        <a:cs typeface=""/>
      </a:majorFont>
      <a:minorFont>
        <a:latin typeface="Soho Gothic Pro Light"/>
        <a:ea typeface=""/>
        <a:cs typeface=""/>
      </a:minorFont>
    </a:fontScheme>
    <a:fmtScheme name="Tema d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Minsait_externa_07092018" id="{BDCD7FBE-5CCC-354F-B23D-2FFF78B0626C}" vid="{0B10B1E6-DDE7-CF48-A0D1-E1BE79F41302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Minsait_externa_07092018</Template>
  <TotalTime>3240</TotalTime>
  <Words>149</Words>
  <Application>Microsoft Office PowerPoint</Application>
  <PresentationFormat>Presentación en pantalla (16:9)</PresentationFormat>
  <Paragraphs>16</Paragraphs>
  <Slides>2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</vt:i4>
      </vt:variant>
    </vt:vector>
  </HeadingPairs>
  <TitlesOfParts>
    <vt:vector size="10" baseType="lpstr">
      <vt:lpstr>Arial</vt:lpstr>
      <vt:lpstr>Calibri</vt:lpstr>
      <vt:lpstr>Georgia</vt:lpstr>
      <vt:lpstr>Playfair Display</vt:lpstr>
      <vt:lpstr>Soho Gothic Pro</vt:lpstr>
      <vt:lpstr>Soho Gothic Pro Light</vt:lpstr>
      <vt:lpstr>Portadas</vt:lpstr>
      <vt:lpstr>Diapositiva de think-cell</vt:lpstr>
      <vt:lpstr>Predicciones Ciber ataques 2020 – Riesgo digital con mayor reconocimiento</vt:lpstr>
      <vt:lpstr>Presentación de PowerPoint</vt:lpstr>
    </vt:vector>
  </TitlesOfParts>
  <Company>Indra Business Consulting, S.L.U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externa</dc:title>
  <dc:creator>Ramirez Gutierrez, Carlos</dc:creator>
  <cp:lastModifiedBy>Duarte Silva, Daniela</cp:lastModifiedBy>
  <cp:revision>71</cp:revision>
  <cp:lastPrinted>2018-09-05T10:32:03Z</cp:lastPrinted>
  <dcterms:created xsi:type="dcterms:W3CDTF">2018-09-13T08:27:09Z</dcterms:created>
  <dcterms:modified xsi:type="dcterms:W3CDTF">2020-05-19T15:16:40Z</dcterms:modified>
</cp:coreProperties>
</file>